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145705560" r:id="rId5"/>
    <p:sldId id="2147481241" r:id="rId6"/>
    <p:sldId id="2147481242" r:id="rId7"/>
    <p:sldId id="2147481243" r:id="rId8"/>
    <p:sldId id="2147481260" r:id="rId9"/>
    <p:sldId id="2147481247" r:id="rId10"/>
    <p:sldId id="2147481248" r:id="rId11"/>
    <p:sldId id="2147481246" r:id="rId12"/>
    <p:sldId id="2147481244" r:id="rId13"/>
    <p:sldId id="2147481245" r:id="rId14"/>
    <p:sldId id="2147481249" r:id="rId15"/>
    <p:sldId id="2147481250" r:id="rId16"/>
    <p:sldId id="2147481251" r:id="rId17"/>
    <p:sldId id="2147481252" r:id="rId18"/>
    <p:sldId id="2147481254" r:id="rId19"/>
    <p:sldId id="2147481255" r:id="rId20"/>
    <p:sldId id="2147481256" r:id="rId21"/>
    <p:sldId id="2147481258" r:id="rId22"/>
    <p:sldId id="2147481253" r:id="rId23"/>
    <p:sldId id="2147481257" r:id="rId24"/>
    <p:sldId id="2147481259" r:id="rId25"/>
  </p:sldIdLst>
  <p:sldSz cx="12192000" cy="6858000"/>
  <p:notesSz cx="7010400" cy="92964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PTCRaleway" panose="020B0503030101060003" pitchFamily="34" charset="0"/>
      <p:regular r:id="rId34"/>
      <p:bold r:id="rId35"/>
      <p:italic r:id="rId36"/>
      <p:boldItalic r:id="rId37"/>
    </p:embeddedFont>
    <p:embeddedFont>
      <p:font typeface="PTCRaleway Black" panose="020B0A03030101060003" pitchFamily="34" charset="0"/>
      <p:bold r:id="rId38"/>
      <p:boldItalic r:id="rId39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7" pos="7392" userDrawn="1">
          <p15:clr>
            <a:srgbClr val="A4A3A4"/>
          </p15:clr>
        </p15:guide>
        <p15:guide id="30" pos="312" userDrawn="1">
          <p15:clr>
            <a:srgbClr val="A4A3A4"/>
          </p15:clr>
        </p15:guide>
        <p15:guide id="32" orient="horz" pos="4152" userDrawn="1">
          <p15:clr>
            <a:srgbClr val="A4A3A4"/>
          </p15:clr>
        </p15:guide>
        <p15:guide id="33" orient="horz" pos="1200" userDrawn="1">
          <p15:clr>
            <a:srgbClr val="A4A3A4"/>
          </p15:clr>
        </p15:guide>
        <p15:guide id="34" orient="horz" pos="15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9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2C3A"/>
    <a:srgbClr val="595F60"/>
    <a:srgbClr val="C9C9C9"/>
    <a:srgbClr val="C37729"/>
    <a:srgbClr val="EB6D00"/>
    <a:srgbClr val="3D4647"/>
    <a:srgbClr val="197BC0"/>
    <a:srgbClr val="BDE1BF"/>
    <a:srgbClr val="97CF9B"/>
    <a:srgbClr val="33A1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2" autoAdjust="0"/>
    <p:restoredTop sz="88875" autoAdjust="0"/>
  </p:normalViewPr>
  <p:slideViewPr>
    <p:cSldViewPr snapToGrid="0" snapToObjects="1">
      <p:cViewPr varScale="1">
        <p:scale>
          <a:sx n="112" d="100"/>
          <a:sy n="112" d="100"/>
        </p:scale>
        <p:origin x="822" y="57"/>
      </p:cViewPr>
      <p:guideLst>
        <p:guide orient="horz" pos="888"/>
        <p:guide orient="horz" pos="600"/>
        <p:guide pos="7392"/>
        <p:guide pos="312"/>
        <p:guide orient="horz" pos="4152"/>
        <p:guide orient="horz" pos="1200"/>
        <p:guide orient="horz" pos="15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84"/>
    </p:cViewPr>
  </p:sorterViewPr>
  <p:notesViewPr>
    <p:cSldViewPr snapToGrid="0" snapToObjects="1">
      <p:cViewPr varScale="1">
        <p:scale>
          <a:sx n="77" d="100"/>
          <a:sy n="77" d="100"/>
        </p:scale>
        <p:origin x="309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2.fntdata"/><Relationship Id="rId21" Type="http://schemas.openxmlformats.org/officeDocument/2006/relationships/slide" Target="slides/slide17.xml"/><Relationship Id="rId34" Type="http://schemas.openxmlformats.org/officeDocument/2006/relationships/font" Target="fonts/font7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commentAuthors" Target="commentAuthors.xml"/><Relationship Id="rId45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4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26/03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/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C5DD82D-684E-4FFB-8320-B8CCB1AF24EB}" type="datetimeFigureOut">
              <a:rPr lang="en-US" smtClean="0"/>
              <a:pPr/>
              <a:t>3/2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88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365760" indent="-182880" algn="l" defTabSz="914400" rtl="0" eaLnBrk="1" latinLnBrk="0" hangingPunct="1">
      <a:buFont typeface="Calibri Light" panose="020F0302020204030204" pitchFamily="34" charset="0"/>
      <a:buChar char="–"/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54864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731520" indent="-182880" algn="l" defTabSz="914400" rtl="0" eaLnBrk="1" latinLnBrk="0" hangingPunct="1">
      <a:buFont typeface="Calibri Light" panose="020F0302020204030204" pitchFamily="34" charset="0"/>
      <a:buChar char="–"/>
      <a:defRPr sz="1200" kern="1200">
        <a:solidFill>
          <a:schemeClr val="tx1"/>
        </a:solidFill>
        <a:latin typeface="+mj-lt"/>
        <a:ea typeface="+mn-ea"/>
        <a:cs typeface="+mn-cs"/>
      </a:defRPr>
    </a:lvl4pPr>
    <a:lvl5pPr marL="914400" indent="-18288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87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24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svg"/><Relationship Id="rId5" Type="http://schemas.openxmlformats.org/officeDocument/2006/relationships/image" Target="../media/image2.png"/><Relationship Id="rId4" Type="http://schemas.openxmlformats.org/officeDocument/2006/relationships/image" Target="../media/image2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4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36.svg"/><Relationship Id="rId3" Type="http://schemas.openxmlformats.org/officeDocument/2006/relationships/hyperlink" Target="https://www.linkedin.com/company/ptc/" TargetMode="External"/><Relationship Id="rId7" Type="http://schemas.openxmlformats.org/officeDocument/2006/relationships/hyperlink" Target="https://youtube.com/ptc" TargetMode="External"/><Relationship Id="rId12" Type="http://schemas.openxmlformats.org/officeDocument/2006/relationships/image" Target="../media/image35.png"/><Relationship Id="rId2" Type="http://schemas.openxmlformats.org/officeDocument/2006/relationships/image" Target="../media/image19.png"/><Relationship Id="rId16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ptc" TargetMode="External"/><Relationship Id="rId11" Type="http://schemas.openxmlformats.org/officeDocument/2006/relationships/image" Target="../media/image34.svg"/><Relationship Id="rId5" Type="http://schemas.openxmlformats.org/officeDocument/2006/relationships/image" Target="../media/image32.svg"/><Relationship Id="rId15" Type="http://schemas.openxmlformats.org/officeDocument/2006/relationships/image" Target="../media/image11.svg"/><Relationship Id="rId10" Type="http://schemas.openxmlformats.org/officeDocument/2006/relationships/image" Target="../media/image33.png"/><Relationship Id="rId4" Type="http://schemas.openxmlformats.org/officeDocument/2006/relationships/image" Target="../media/image31.png"/><Relationship Id="rId9" Type="http://schemas.openxmlformats.org/officeDocument/2006/relationships/hyperlink" Target="https://www.ptc.com/" TargetMode="External"/><Relationship Id="rId1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09928"/>
            <a:ext cx="1078992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 marL="932688"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31322FB-E72D-10EB-2AAD-D3DBFEEF7769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33988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3ADCF-62CE-FC90-00EB-ABC6D1FD21D9}"/>
              </a:ext>
            </a:extLst>
          </p:cNvPr>
          <p:cNvSpPr/>
          <p:nvPr userDrawn="1"/>
        </p:nvSpPr>
        <p:spPr>
          <a:xfrm>
            <a:off x="3048" y="6767576"/>
            <a:ext cx="12188952" cy="100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E65764-A308-7C26-F8C6-EA3500908854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5581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2CB97F46-9E75-595F-CDB2-2A43210796C2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09331"/>
            <a:chExt cx="3558618" cy="471112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7147D3-BB0F-F89C-1174-8D8535C2C94D}"/>
                </a:ext>
              </a:extLst>
            </p:cNvPr>
            <p:cNvSpPr/>
            <p:nvPr userDrawn="1"/>
          </p:nvSpPr>
          <p:spPr>
            <a:xfrm>
              <a:off x="567709" y="1619502"/>
              <a:ext cx="3558618" cy="46009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89EDD2DD-B352-D838-D86A-A84099963EA9}"/>
                </a:ext>
              </a:extLst>
            </p:cNvPr>
            <p:cNvSpPr/>
            <p:nvPr userDrawn="1"/>
          </p:nvSpPr>
          <p:spPr>
            <a:xfrm>
              <a:off x="567710" y="1509331"/>
              <a:ext cx="1235088" cy="224180"/>
            </a:xfrm>
            <a:prstGeom prst="homePlate">
              <a:avLst>
                <a:gd name="adj" fmla="val 10410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D002AE4-09A9-09EE-5B7C-E2715DBB8A81}"/>
              </a:ext>
            </a:extLst>
          </p:cNvPr>
          <p:cNvGrpSpPr/>
          <p:nvPr userDrawn="1"/>
        </p:nvGrpSpPr>
        <p:grpSpPr>
          <a:xfrm>
            <a:off x="3379623" y="1727879"/>
            <a:ext cx="631597" cy="594534"/>
            <a:chOff x="3331998" y="1775504"/>
            <a:chExt cx="631597" cy="59453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19E5BAB-A477-C360-01C3-F9F999CC597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C620EE-F05A-BD09-4BFC-87084A5C68C0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7D5BEA0-FC34-709E-9718-DB3566E04D6B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DC1DA70-1A1D-2C1A-9328-8B9270D82D24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C77841A-E045-4542-A192-C5E9155E3851}"/>
              </a:ext>
            </a:extLst>
          </p:cNvPr>
          <p:cNvCxnSpPr>
            <a:cxnSpLocks/>
          </p:cNvCxnSpPr>
          <p:nvPr/>
        </p:nvCxnSpPr>
        <p:spPr>
          <a:xfrm>
            <a:off x="4583953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13F1DEF-A422-451E-8E4B-2CA3BEBF0FD4}"/>
              </a:ext>
            </a:extLst>
          </p:cNvPr>
          <p:cNvCxnSpPr>
            <a:cxnSpLocks/>
          </p:cNvCxnSpPr>
          <p:nvPr/>
        </p:nvCxnSpPr>
        <p:spPr>
          <a:xfrm>
            <a:off x="5684017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B8B8C22-FB4C-4F60-AAF8-1105E997767C}"/>
              </a:ext>
            </a:extLst>
          </p:cNvPr>
          <p:cNvCxnSpPr>
            <a:cxnSpLocks/>
          </p:cNvCxnSpPr>
          <p:nvPr/>
        </p:nvCxnSpPr>
        <p:spPr>
          <a:xfrm>
            <a:off x="6784081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540B4BD-35FC-4B98-9B3D-EEC050BFDDCE}"/>
              </a:ext>
            </a:extLst>
          </p:cNvPr>
          <p:cNvCxnSpPr>
            <a:cxnSpLocks/>
          </p:cNvCxnSpPr>
          <p:nvPr/>
        </p:nvCxnSpPr>
        <p:spPr>
          <a:xfrm>
            <a:off x="7884145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95500C9A-2A26-4536-9BB1-24C564726028}"/>
              </a:ext>
            </a:extLst>
          </p:cNvPr>
          <p:cNvCxnSpPr>
            <a:cxnSpLocks/>
          </p:cNvCxnSpPr>
          <p:nvPr/>
        </p:nvCxnSpPr>
        <p:spPr>
          <a:xfrm>
            <a:off x="8984209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0D12C76-B7C9-48D9-889A-8578BC643659}"/>
              </a:ext>
            </a:extLst>
          </p:cNvPr>
          <p:cNvCxnSpPr>
            <a:cxnSpLocks/>
          </p:cNvCxnSpPr>
          <p:nvPr/>
        </p:nvCxnSpPr>
        <p:spPr>
          <a:xfrm>
            <a:off x="10084273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18F8938-2DB3-4B49-A0BC-EC5C9E64C08E}"/>
              </a:ext>
            </a:extLst>
          </p:cNvPr>
          <p:cNvCxnSpPr>
            <a:cxnSpLocks/>
          </p:cNvCxnSpPr>
          <p:nvPr/>
        </p:nvCxnSpPr>
        <p:spPr>
          <a:xfrm>
            <a:off x="11184341" y="1479283"/>
            <a:ext cx="485689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aphic 1061">
            <a:extLst>
              <a:ext uri="{FF2B5EF4-FFF2-40B4-BE49-F238E27FC236}">
                <a16:creationId xmlns:a16="http://schemas.microsoft.com/office/drawing/2014/main" id="{66830D77-258F-4A8F-9120-7E2465199E40}"/>
              </a:ext>
            </a:extLst>
          </p:cNvPr>
          <p:cNvGrpSpPr/>
          <p:nvPr/>
        </p:nvGrpSpPr>
        <p:grpSpPr>
          <a:xfrm>
            <a:off x="10698946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1CAD5240-3A52-4379-9F92-BD1E52F2CB4B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35CD7343-E932-49CF-8F93-9F0AB7491ADC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36CC769-25FA-45D3-B5B7-741419D0BF4E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E27FFE3-9666-4FDA-B24A-B0CACDC72D62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5" name="Graphic 1061">
            <a:extLst>
              <a:ext uri="{FF2B5EF4-FFF2-40B4-BE49-F238E27FC236}">
                <a16:creationId xmlns:a16="http://schemas.microsoft.com/office/drawing/2014/main" id="{43FE98BD-1629-4591-A7CE-C0B00722C53A}"/>
              </a:ext>
            </a:extLst>
          </p:cNvPr>
          <p:cNvGrpSpPr/>
          <p:nvPr/>
        </p:nvGrpSpPr>
        <p:grpSpPr>
          <a:xfrm>
            <a:off x="9598882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C445072-032C-49DE-B654-772360F027EC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5A69D9A5-23CB-4120-9A2C-120756CF38C0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57A943F-B4D1-48C1-9915-56ABC12A644E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1A51B713-B423-4118-80E1-DE48750C7910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6" name="Graphic 1061">
            <a:extLst>
              <a:ext uri="{FF2B5EF4-FFF2-40B4-BE49-F238E27FC236}">
                <a16:creationId xmlns:a16="http://schemas.microsoft.com/office/drawing/2014/main" id="{3CAF6FF2-E414-475A-BC9B-305E2CFF7318}"/>
              </a:ext>
            </a:extLst>
          </p:cNvPr>
          <p:cNvGrpSpPr/>
          <p:nvPr/>
        </p:nvGrpSpPr>
        <p:grpSpPr>
          <a:xfrm>
            <a:off x="8498818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8373D9-06D5-47E1-A904-4BD0FB31EB5D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17B5131-8A72-49AD-99B6-EB7AE54486E2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5B1EF33-5097-47EE-AA48-98E3174A6388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3804D7A-21B3-4211-B0C2-29C56D3D644E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7" name="Graphic 1061">
            <a:extLst>
              <a:ext uri="{FF2B5EF4-FFF2-40B4-BE49-F238E27FC236}">
                <a16:creationId xmlns:a16="http://schemas.microsoft.com/office/drawing/2014/main" id="{E9B16AD9-B8FD-4323-9114-F26B14EDCD69}"/>
              </a:ext>
            </a:extLst>
          </p:cNvPr>
          <p:cNvGrpSpPr/>
          <p:nvPr/>
        </p:nvGrpSpPr>
        <p:grpSpPr>
          <a:xfrm>
            <a:off x="7398754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67D746F-F106-4FA3-A873-F52BBE24CE89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017F511-A786-47B8-8009-C2405C67AF03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8D1B408C-6D1D-4337-BE5D-051F1DF60B98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47E5DBB-B06F-4B10-979D-FF7CE6D1DD4D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8" name="Graphic 1061">
            <a:extLst>
              <a:ext uri="{FF2B5EF4-FFF2-40B4-BE49-F238E27FC236}">
                <a16:creationId xmlns:a16="http://schemas.microsoft.com/office/drawing/2014/main" id="{80C5F819-EF42-4A1E-9169-4A0EAF9017D2}"/>
              </a:ext>
            </a:extLst>
          </p:cNvPr>
          <p:cNvGrpSpPr/>
          <p:nvPr/>
        </p:nvGrpSpPr>
        <p:grpSpPr>
          <a:xfrm>
            <a:off x="6298690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AE31BD1-5DDC-4B18-A3D0-3FDFF473C1BD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EDF9C5BC-53D0-41B7-89DE-6D96E268393E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80B476FB-C458-47B9-8F7F-7E39FA3A7A84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A259F22-4E56-4C01-9A49-8911A0ABC81B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9" name="Graphic 1061">
            <a:extLst>
              <a:ext uri="{FF2B5EF4-FFF2-40B4-BE49-F238E27FC236}">
                <a16:creationId xmlns:a16="http://schemas.microsoft.com/office/drawing/2014/main" id="{9C7D2708-E551-43D4-9749-9FA78B778158}"/>
              </a:ext>
            </a:extLst>
          </p:cNvPr>
          <p:cNvGrpSpPr/>
          <p:nvPr/>
        </p:nvGrpSpPr>
        <p:grpSpPr>
          <a:xfrm>
            <a:off x="5198626" y="1443166"/>
            <a:ext cx="356407" cy="72235"/>
            <a:chOff x="10361032" y="3050327"/>
            <a:chExt cx="356407" cy="72235"/>
          </a:xfrm>
          <a:solidFill>
            <a:schemeClr val="bg1">
              <a:lumMod val="65000"/>
            </a:schemeClr>
          </a:solidFill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AB5F4C93-D2D6-42DC-8D71-5B863BED824E}"/>
                </a:ext>
              </a:extLst>
            </p:cNvPr>
            <p:cNvSpPr/>
            <p:nvPr/>
          </p:nvSpPr>
          <p:spPr>
            <a:xfrm>
              <a:off x="10706977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052F826-950B-41B1-8315-6D17D3BFF416}"/>
                </a:ext>
              </a:extLst>
            </p:cNvPr>
            <p:cNvSpPr/>
            <p:nvPr/>
          </p:nvSpPr>
          <p:spPr>
            <a:xfrm>
              <a:off x="10582354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EB090A3D-553F-431D-9A4F-F24FD0AC33D6}"/>
                </a:ext>
              </a:extLst>
            </p:cNvPr>
            <p:cNvSpPr/>
            <p:nvPr/>
          </p:nvSpPr>
          <p:spPr>
            <a:xfrm>
              <a:off x="10474039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40388C12-10E1-4E14-8358-269F50130D66}"/>
                </a:ext>
              </a:extLst>
            </p:cNvPr>
            <p:cNvSpPr/>
            <p:nvPr/>
          </p:nvSpPr>
          <p:spPr>
            <a:xfrm>
              <a:off x="10361032" y="3050327"/>
              <a:ext cx="10462" cy="72235"/>
            </a:xfrm>
            <a:custGeom>
              <a:avLst/>
              <a:gdLst>
                <a:gd name="connsiteX0" fmla="*/ 0 w 10462"/>
                <a:gd name="connsiteY0" fmla="*/ 0 h 72235"/>
                <a:gd name="connsiteX1" fmla="*/ 10462 w 10462"/>
                <a:gd name="connsiteY1" fmla="*/ 0 h 72235"/>
                <a:gd name="connsiteX2" fmla="*/ 10462 w 10462"/>
                <a:gd name="connsiteY2" fmla="*/ 72235 h 72235"/>
                <a:gd name="connsiteX3" fmla="*/ 0 w 10462"/>
                <a:gd name="connsiteY3" fmla="*/ 72235 h 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62" h="72235">
                  <a:moveTo>
                    <a:pt x="0" y="0"/>
                  </a:moveTo>
                  <a:lnTo>
                    <a:pt x="10462" y="0"/>
                  </a:lnTo>
                  <a:lnTo>
                    <a:pt x="10462" y="72235"/>
                  </a:lnTo>
                  <a:lnTo>
                    <a:pt x="0" y="72235"/>
                  </a:lnTo>
                  <a:close/>
                </a:path>
              </a:pathLst>
            </a:custGeom>
            <a:grpFill/>
            <a:ln w="76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302CDFFB-3296-45F1-837F-BC567AD0F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3787"/>
          <a:stretch/>
        </p:blipFill>
        <p:spPr>
          <a:xfrm>
            <a:off x="11030375" y="2866175"/>
            <a:ext cx="1161626" cy="231343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4572000" y="1618422"/>
            <a:ext cx="7096125" cy="4599432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D69C94F-DE01-9E10-578B-026C24D87BE8}"/>
              </a:ext>
            </a:extLst>
          </p:cNvPr>
          <p:cNvGrpSpPr/>
          <p:nvPr userDrawn="1"/>
        </p:nvGrpSpPr>
        <p:grpSpPr>
          <a:xfrm>
            <a:off x="4558698" y="6297424"/>
            <a:ext cx="237934" cy="161861"/>
            <a:chOff x="4558698" y="6297424"/>
            <a:chExt cx="237934" cy="161861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5075E11-C95B-43F7-AE58-F819F4432F9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7C06D70-7E3E-4D15-B6B1-EAF35FBF771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560CFA8-8666-401D-B91D-47D7B7FABCCC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71462" y="3134272"/>
            <a:ext cx="3026664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marL="896112" lvl="2" indent="-228600"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dirty="0"/>
              <a:t>Bullet 3</a:t>
            </a:r>
          </a:p>
          <a:p>
            <a:pPr marL="1143000" lvl="3">
              <a:buBlip>
                <a:blip r:embed="rId7"/>
              </a:buBlip>
            </a:pPr>
            <a:r>
              <a:rPr lang="en-US" dirty="0"/>
              <a:t>Bullet 4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CF86E01-CC39-872B-0201-3C73CC108B1A}"/>
              </a:ext>
            </a:extLst>
          </p:cNvPr>
          <p:cNvGrpSpPr/>
          <p:nvPr userDrawn="1"/>
        </p:nvGrpSpPr>
        <p:grpSpPr>
          <a:xfrm>
            <a:off x="3514325" y="3055609"/>
            <a:ext cx="478233" cy="3067294"/>
            <a:chOff x="3543141" y="2978301"/>
            <a:chExt cx="478233" cy="3067294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EEEFE01-E31F-AC81-5438-C97B58CFCE60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0D161C7-0E22-5DD1-1574-221ED499A2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7F5C456-7503-F552-41B4-1FB04575BB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141" y="6042913"/>
              <a:ext cx="478233" cy="0"/>
            </a:xfrm>
            <a:prstGeom prst="line">
              <a:avLst/>
            </a:prstGeom>
            <a:ln w="1587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A4095343-4951-A0F0-3341-A250476E76A1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09331"/>
            <a:chExt cx="3558618" cy="4711129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19502"/>
              <a:ext cx="3558618" cy="46009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09331"/>
              <a:ext cx="1235088" cy="224180"/>
            </a:xfrm>
            <a:prstGeom prst="homePlate">
              <a:avLst>
                <a:gd name="adj" fmla="val 10410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79623" y="1727879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9502"/>
            <a:ext cx="7086600" cy="4600957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71144" y="3130080"/>
            <a:ext cx="3029331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96112" indent="-22860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29DC23-4580-422E-9524-A6BDD0FBEEB4}"/>
              </a:ext>
            </a:extLst>
          </p:cNvPr>
          <p:cNvGrpSpPr/>
          <p:nvPr userDrawn="1"/>
        </p:nvGrpSpPr>
        <p:grpSpPr>
          <a:xfrm>
            <a:off x="3514325" y="3055609"/>
            <a:ext cx="478233" cy="3067294"/>
            <a:chOff x="3543141" y="2978301"/>
            <a:chExt cx="478233" cy="306729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6558BD-2FE6-4824-9681-AC6B50FC2825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90F29F5-4529-4B00-A185-F237BA88D7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60F12DB-F906-46E7-BB6C-A0C096CDE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141" y="6042913"/>
              <a:ext cx="478233" cy="0"/>
            </a:xfrm>
            <a:prstGeom prst="line">
              <a:avLst/>
            </a:prstGeom>
            <a:ln w="1587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Two-thir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E6F5A70A-B3CC-70DA-9E2C-D8AC19E987D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8402" y="1516415"/>
            <a:ext cx="3561814" cy="4705903"/>
          </a:xfrm>
          <a:custGeom>
            <a:avLst/>
            <a:gdLst>
              <a:gd name="connsiteX0" fmla="*/ 0 w 3532738"/>
              <a:gd name="connsiteY0" fmla="*/ 0 h 4709160"/>
              <a:gd name="connsiteX1" fmla="*/ 3532738 w 3532738"/>
              <a:gd name="connsiteY1" fmla="*/ 0 h 4709160"/>
              <a:gd name="connsiteX2" fmla="*/ 3532738 w 3532738"/>
              <a:gd name="connsiteY2" fmla="*/ 0 h 4709160"/>
              <a:gd name="connsiteX3" fmla="*/ 3532738 w 3532738"/>
              <a:gd name="connsiteY3" fmla="*/ 4709160 h 4709160"/>
              <a:gd name="connsiteX4" fmla="*/ 0 w 3532738"/>
              <a:gd name="connsiteY4" fmla="*/ 4709160 h 4709160"/>
              <a:gd name="connsiteX5" fmla="*/ 0 w 3532738"/>
              <a:gd name="connsiteY5" fmla="*/ 0 h 4709160"/>
              <a:gd name="connsiteX0" fmla="*/ 0 w 3532738"/>
              <a:gd name="connsiteY0" fmla="*/ 8522 h 4717682"/>
              <a:gd name="connsiteX1" fmla="*/ 1125989 w 3532738"/>
              <a:gd name="connsiteY1" fmla="*/ 0 h 4717682"/>
              <a:gd name="connsiteX2" fmla="*/ 3532738 w 3532738"/>
              <a:gd name="connsiteY2" fmla="*/ 8522 h 4717682"/>
              <a:gd name="connsiteX3" fmla="*/ 3532738 w 3532738"/>
              <a:gd name="connsiteY3" fmla="*/ 852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18461 h 4727621"/>
              <a:gd name="connsiteX1" fmla="*/ 1125989 w 3532738"/>
              <a:gd name="connsiteY1" fmla="*/ 9939 h 4727621"/>
              <a:gd name="connsiteX2" fmla="*/ 1463920 w 3532738"/>
              <a:gd name="connsiteY2" fmla="*/ 0 h 4727621"/>
              <a:gd name="connsiteX3" fmla="*/ 3532738 w 3532738"/>
              <a:gd name="connsiteY3" fmla="*/ 18461 h 4727621"/>
              <a:gd name="connsiteX4" fmla="*/ 3532738 w 3532738"/>
              <a:gd name="connsiteY4" fmla="*/ 18461 h 4727621"/>
              <a:gd name="connsiteX5" fmla="*/ 3532738 w 3532738"/>
              <a:gd name="connsiteY5" fmla="*/ 4727621 h 4727621"/>
              <a:gd name="connsiteX6" fmla="*/ 0 w 3532738"/>
              <a:gd name="connsiteY6" fmla="*/ 4727621 h 4727621"/>
              <a:gd name="connsiteX7" fmla="*/ 0 w 3532738"/>
              <a:gd name="connsiteY7" fmla="*/ 18461 h 4727621"/>
              <a:gd name="connsiteX0" fmla="*/ 0 w 3532738"/>
              <a:gd name="connsiteY0" fmla="*/ 8522 h 4717682"/>
              <a:gd name="connsiteX1" fmla="*/ 1125989 w 3532738"/>
              <a:gd name="connsiteY1" fmla="*/ 0 h 4717682"/>
              <a:gd name="connsiteX2" fmla="*/ 1294955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94955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8522 h 4717682"/>
              <a:gd name="connsiteX5" fmla="*/ 3532738 w 3532738"/>
              <a:gd name="connsiteY5" fmla="*/ 4717682 h 4717682"/>
              <a:gd name="connsiteX6" fmla="*/ 0 w 3532738"/>
              <a:gd name="connsiteY6" fmla="*/ 4717682 h 4717682"/>
              <a:gd name="connsiteX7" fmla="*/ 0 w 3532738"/>
              <a:gd name="connsiteY7" fmla="*/ 8522 h 4717682"/>
              <a:gd name="connsiteX0" fmla="*/ 0 w 3542677"/>
              <a:gd name="connsiteY0" fmla="*/ 8522 h 4717682"/>
              <a:gd name="connsiteX1" fmla="*/ 1116050 w 3542677"/>
              <a:gd name="connsiteY1" fmla="*/ 0 h 4717682"/>
              <a:gd name="connsiteX2" fmla="*/ 1265137 w 3542677"/>
              <a:gd name="connsiteY2" fmla="*/ 109331 h 4717682"/>
              <a:gd name="connsiteX3" fmla="*/ 3532738 w 3542677"/>
              <a:gd name="connsiteY3" fmla="*/ 8522 h 4717682"/>
              <a:gd name="connsiteX4" fmla="*/ 3542677 w 3542677"/>
              <a:gd name="connsiteY4" fmla="*/ 117853 h 4717682"/>
              <a:gd name="connsiteX5" fmla="*/ 3532738 w 3542677"/>
              <a:gd name="connsiteY5" fmla="*/ 4717682 h 4717682"/>
              <a:gd name="connsiteX6" fmla="*/ 0 w 3542677"/>
              <a:gd name="connsiteY6" fmla="*/ 4717682 h 4717682"/>
              <a:gd name="connsiteX7" fmla="*/ 0 w 3542677"/>
              <a:gd name="connsiteY7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852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65137 w 3532738"/>
              <a:gd name="connsiteY2" fmla="*/ 109331 h 4717682"/>
              <a:gd name="connsiteX3" fmla="*/ 3532738 w 3532738"/>
              <a:gd name="connsiteY3" fmla="*/ 11785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8522 h 4717682"/>
              <a:gd name="connsiteX1" fmla="*/ 1116050 w 3532738"/>
              <a:gd name="connsiteY1" fmla="*/ 0 h 4717682"/>
              <a:gd name="connsiteX2" fmla="*/ 1243365 w 3532738"/>
              <a:gd name="connsiteY2" fmla="*/ 131102 h 4717682"/>
              <a:gd name="connsiteX3" fmla="*/ 3532738 w 3532738"/>
              <a:gd name="connsiteY3" fmla="*/ 117852 h 4717682"/>
              <a:gd name="connsiteX4" fmla="*/ 3532738 w 3532738"/>
              <a:gd name="connsiteY4" fmla="*/ 4717682 h 4717682"/>
              <a:gd name="connsiteX5" fmla="*/ 0 w 3532738"/>
              <a:gd name="connsiteY5" fmla="*/ 4717682 h 4717682"/>
              <a:gd name="connsiteX6" fmla="*/ 0 w 3532738"/>
              <a:gd name="connsiteY6" fmla="*/ 8522 h 4717682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43365 w 3532738"/>
              <a:gd name="connsiteY2" fmla="*/ 122580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802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703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34657 w 3532738"/>
              <a:gd name="connsiteY2" fmla="*/ 12040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34657 w 3532738"/>
              <a:gd name="connsiteY2" fmla="*/ 12040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2421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99721 w 3532738"/>
              <a:gd name="connsiteY1" fmla="*/ 2363 h 4709160"/>
              <a:gd name="connsiteX2" fmla="*/ 1223227 w 3532738"/>
              <a:gd name="connsiteY2" fmla="*/ 11659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16593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10889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0 h 4709160"/>
              <a:gd name="connsiteX1" fmla="*/ 1018844 w 3532738"/>
              <a:gd name="connsiteY1" fmla="*/ 4672 h 4709160"/>
              <a:gd name="connsiteX2" fmla="*/ 1223227 w 3532738"/>
              <a:gd name="connsiteY2" fmla="*/ 109666 h 4709160"/>
              <a:gd name="connsiteX3" fmla="*/ 3532738 w 3532738"/>
              <a:gd name="connsiteY3" fmla="*/ 109330 h 4709160"/>
              <a:gd name="connsiteX4" fmla="*/ 3532738 w 3532738"/>
              <a:gd name="connsiteY4" fmla="*/ 4709160 h 4709160"/>
              <a:gd name="connsiteX5" fmla="*/ 0 w 3532738"/>
              <a:gd name="connsiteY5" fmla="*/ 4709160 h 4709160"/>
              <a:gd name="connsiteX6" fmla="*/ 0 w 3532738"/>
              <a:gd name="connsiteY6" fmla="*/ 0 h 4709160"/>
              <a:gd name="connsiteX0" fmla="*/ 0 w 3532738"/>
              <a:gd name="connsiteY0" fmla="*/ 362 h 4709522"/>
              <a:gd name="connsiteX1" fmla="*/ 1003837 w 3532738"/>
              <a:gd name="connsiteY1" fmla="*/ 0 h 4709522"/>
              <a:gd name="connsiteX2" fmla="*/ 1223227 w 3532738"/>
              <a:gd name="connsiteY2" fmla="*/ 110028 h 4709522"/>
              <a:gd name="connsiteX3" fmla="*/ 3532738 w 3532738"/>
              <a:gd name="connsiteY3" fmla="*/ 109692 h 4709522"/>
              <a:gd name="connsiteX4" fmla="*/ 3532738 w 3532738"/>
              <a:gd name="connsiteY4" fmla="*/ 4709522 h 4709522"/>
              <a:gd name="connsiteX5" fmla="*/ 0 w 3532738"/>
              <a:gd name="connsiteY5" fmla="*/ 4709522 h 4709522"/>
              <a:gd name="connsiteX6" fmla="*/ 0 w 3532738"/>
              <a:gd name="connsiteY6" fmla="*/ 362 h 4709522"/>
              <a:gd name="connsiteX0" fmla="*/ 0 w 3532738"/>
              <a:gd name="connsiteY0" fmla="*/ 362 h 4709522"/>
              <a:gd name="connsiteX1" fmla="*/ 983452 w 3532738"/>
              <a:gd name="connsiteY1" fmla="*/ 0 h 4709522"/>
              <a:gd name="connsiteX2" fmla="*/ 1223227 w 3532738"/>
              <a:gd name="connsiteY2" fmla="*/ 110028 h 4709522"/>
              <a:gd name="connsiteX3" fmla="*/ 3532738 w 3532738"/>
              <a:gd name="connsiteY3" fmla="*/ 109692 h 4709522"/>
              <a:gd name="connsiteX4" fmla="*/ 3532738 w 3532738"/>
              <a:gd name="connsiteY4" fmla="*/ 4709522 h 4709522"/>
              <a:gd name="connsiteX5" fmla="*/ 0 w 3532738"/>
              <a:gd name="connsiteY5" fmla="*/ 4709522 h 4709522"/>
              <a:gd name="connsiteX6" fmla="*/ 0 w 3532738"/>
              <a:gd name="connsiteY6" fmla="*/ 362 h 4709522"/>
              <a:gd name="connsiteX0" fmla="*/ 6795 w 3539533"/>
              <a:gd name="connsiteY0" fmla="*/ 362 h 4716359"/>
              <a:gd name="connsiteX1" fmla="*/ 990247 w 3539533"/>
              <a:gd name="connsiteY1" fmla="*/ 0 h 4716359"/>
              <a:gd name="connsiteX2" fmla="*/ 1230022 w 3539533"/>
              <a:gd name="connsiteY2" fmla="*/ 110028 h 4716359"/>
              <a:gd name="connsiteX3" fmla="*/ 3539533 w 3539533"/>
              <a:gd name="connsiteY3" fmla="*/ 109692 h 4716359"/>
              <a:gd name="connsiteX4" fmla="*/ 3539533 w 3539533"/>
              <a:gd name="connsiteY4" fmla="*/ 4709522 h 4716359"/>
              <a:gd name="connsiteX5" fmla="*/ 0 w 3539533"/>
              <a:gd name="connsiteY5" fmla="*/ 4716359 h 4716359"/>
              <a:gd name="connsiteX6" fmla="*/ 6795 w 3539533"/>
              <a:gd name="connsiteY6" fmla="*/ 362 h 4716359"/>
              <a:gd name="connsiteX0" fmla="*/ 6795 w 3539533"/>
              <a:gd name="connsiteY0" fmla="*/ 362 h 4722266"/>
              <a:gd name="connsiteX1" fmla="*/ 990247 w 3539533"/>
              <a:gd name="connsiteY1" fmla="*/ 0 h 4722266"/>
              <a:gd name="connsiteX2" fmla="*/ 1230022 w 3539533"/>
              <a:gd name="connsiteY2" fmla="*/ 110028 h 4722266"/>
              <a:gd name="connsiteX3" fmla="*/ 3539533 w 3539533"/>
              <a:gd name="connsiteY3" fmla="*/ 109692 h 4722266"/>
              <a:gd name="connsiteX4" fmla="*/ 3526887 w 3539533"/>
              <a:gd name="connsiteY4" fmla="*/ 4722266 h 4722266"/>
              <a:gd name="connsiteX5" fmla="*/ 0 w 3539533"/>
              <a:gd name="connsiteY5" fmla="*/ 4716359 h 4722266"/>
              <a:gd name="connsiteX6" fmla="*/ 6795 w 3539533"/>
              <a:gd name="connsiteY6" fmla="*/ 362 h 4722266"/>
              <a:gd name="connsiteX0" fmla="*/ 6795 w 3546621"/>
              <a:gd name="connsiteY0" fmla="*/ 362 h 4722266"/>
              <a:gd name="connsiteX1" fmla="*/ 990247 w 3546621"/>
              <a:gd name="connsiteY1" fmla="*/ 0 h 4722266"/>
              <a:gd name="connsiteX2" fmla="*/ 1230022 w 3546621"/>
              <a:gd name="connsiteY2" fmla="*/ 110028 h 4722266"/>
              <a:gd name="connsiteX3" fmla="*/ 3539533 w 3546621"/>
              <a:gd name="connsiteY3" fmla="*/ 109692 h 4722266"/>
              <a:gd name="connsiteX4" fmla="*/ 3545856 w 3546621"/>
              <a:gd name="connsiteY4" fmla="*/ 4722266 h 4722266"/>
              <a:gd name="connsiteX5" fmla="*/ 0 w 3546621"/>
              <a:gd name="connsiteY5" fmla="*/ 4716359 h 4722266"/>
              <a:gd name="connsiteX6" fmla="*/ 6795 w 3546621"/>
              <a:gd name="connsiteY6" fmla="*/ 362 h 472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6621" h="4722266">
                <a:moveTo>
                  <a:pt x="6795" y="362"/>
                </a:moveTo>
                <a:lnTo>
                  <a:pt x="990247" y="0"/>
                </a:lnTo>
                <a:lnTo>
                  <a:pt x="1230022" y="110028"/>
                </a:lnTo>
                <a:lnTo>
                  <a:pt x="3539533" y="109692"/>
                </a:lnTo>
                <a:cubicBezTo>
                  <a:pt x="3535318" y="1647217"/>
                  <a:pt x="3550071" y="3184741"/>
                  <a:pt x="3545856" y="4722266"/>
                </a:cubicBezTo>
                <a:lnTo>
                  <a:pt x="0" y="4716359"/>
                </a:lnTo>
                <a:lnTo>
                  <a:pt x="6795" y="362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71450" indent="-171450">
              <a:buFont typeface="Wingdings" panose="05000000000000000000" pitchFamily="2" charset="2"/>
              <a:buChar char="§"/>
              <a:defRPr lang="en-US" sz="110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8689"/>
            <a:ext cx="7086600" cy="4599432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8BB190-45C4-B4EA-E91F-D91647DD201A}"/>
              </a:ext>
            </a:extLst>
          </p:cNvPr>
          <p:cNvGrpSpPr/>
          <p:nvPr userDrawn="1"/>
        </p:nvGrpSpPr>
        <p:grpSpPr>
          <a:xfrm>
            <a:off x="592994" y="6297424"/>
            <a:ext cx="237934" cy="161861"/>
            <a:chOff x="4558698" y="6297424"/>
            <a:chExt cx="237934" cy="161861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AF73820-1083-FF47-1ED2-921C54B2DA0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B83EE4A-325F-6424-ADD2-4C282A359E4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D74398-9694-0B5D-3BB9-EF3F4A0B55BA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707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72000" y="1618488"/>
            <a:ext cx="7086600" cy="4599432"/>
          </a:xfrm>
          <a:ln w="12700">
            <a:solidFill>
              <a:schemeClr val="bg2"/>
            </a:solidFill>
          </a:ln>
        </p:spPr>
        <p:txBody>
          <a:bodyPr vert="horz" lIns="182880" tIns="182880" rIns="182880" bIns="182880" rtlCol="0" anchor="ctr" anchorCtr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B8BB190-45C4-B4EA-E91F-D91647DD201A}"/>
              </a:ext>
            </a:extLst>
          </p:cNvPr>
          <p:cNvGrpSpPr/>
          <p:nvPr userDrawn="1"/>
        </p:nvGrpSpPr>
        <p:grpSpPr>
          <a:xfrm>
            <a:off x="592994" y="6297424"/>
            <a:ext cx="237934" cy="161861"/>
            <a:chOff x="4558698" y="6297424"/>
            <a:chExt cx="237934" cy="161861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AF73820-1083-FF47-1ED2-921C54B2DA04}"/>
                </a:ext>
              </a:extLst>
            </p:cNvPr>
            <p:cNvSpPr/>
            <p:nvPr userDrawn="1"/>
          </p:nvSpPr>
          <p:spPr>
            <a:xfrm>
              <a:off x="4558698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7942 w 99631"/>
                <a:gd name="connsiteY1" fmla="*/ 0 h 161861"/>
                <a:gd name="connsiteX2" fmla="*/ 99631 w 99631"/>
                <a:gd name="connsiteY2" fmla="*/ 80962 h 161861"/>
                <a:gd name="connsiteX3" fmla="*/ 47942 w 99631"/>
                <a:gd name="connsiteY3" fmla="*/ 161862 h 161861"/>
                <a:gd name="connsiteX4" fmla="*/ 0 w 99631"/>
                <a:gd name="connsiteY4" fmla="*/ 161862 h 161861"/>
                <a:gd name="connsiteX5" fmla="*/ 51626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7942" y="0"/>
                  </a:lnTo>
                  <a:lnTo>
                    <a:pt x="99631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B83EE4A-325F-6424-ADD2-4C282A359E4C}"/>
                </a:ext>
              </a:extLst>
            </p:cNvPr>
            <p:cNvSpPr/>
            <p:nvPr userDrawn="1"/>
          </p:nvSpPr>
          <p:spPr>
            <a:xfrm>
              <a:off x="4628548" y="6297424"/>
              <a:ext cx="99567" cy="161861"/>
            </a:xfrm>
            <a:custGeom>
              <a:avLst/>
              <a:gdLst>
                <a:gd name="connsiteX0" fmla="*/ 0 w 99567"/>
                <a:gd name="connsiteY0" fmla="*/ 0 h 161861"/>
                <a:gd name="connsiteX1" fmla="*/ 47942 w 99567"/>
                <a:gd name="connsiteY1" fmla="*/ 0 h 161861"/>
                <a:gd name="connsiteX2" fmla="*/ 99568 w 99567"/>
                <a:gd name="connsiteY2" fmla="*/ 80962 h 161861"/>
                <a:gd name="connsiteX3" fmla="*/ 47942 w 99567"/>
                <a:gd name="connsiteY3" fmla="*/ 161862 h 161861"/>
                <a:gd name="connsiteX4" fmla="*/ 0 w 99567"/>
                <a:gd name="connsiteY4" fmla="*/ 161862 h 161861"/>
                <a:gd name="connsiteX5" fmla="*/ 51626 w 99567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567" h="161861">
                  <a:moveTo>
                    <a:pt x="0" y="0"/>
                  </a:moveTo>
                  <a:lnTo>
                    <a:pt x="47942" y="0"/>
                  </a:lnTo>
                  <a:lnTo>
                    <a:pt x="99568" y="80962"/>
                  </a:lnTo>
                  <a:lnTo>
                    <a:pt x="47942" y="161862"/>
                  </a:lnTo>
                  <a:lnTo>
                    <a:pt x="0" y="161862"/>
                  </a:lnTo>
                  <a:lnTo>
                    <a:pt x="51626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D74398-9694-0B5D-3BB9-EF3F4A0B55BA}"/>
                </a:ext>
              </a:extLst>
            </p:cNvPr>
            <p:cNvSpPr/>
            <p:nvPr userDrawn="1"/>
          </p:nvSpPr>
          <p:spPr>
            <a:xfrm>
              <a:off x="4697001" y="6297424"/>
              <a:ext cx="99631" cy="161861"/>
            </a:xfrm>
            <a:custGeom>
              <a:avLst/>
              <a:gdLst>
                <a:gd name="connsiteX0" fmla="*/ 0 w 99631"/>
                <a:gd name="connsiteY0" fmla="*/ 0 h 161861"/>
                <a:gd name="connsiteX1" fmla="*/ 48006 w 99631"/>
                <a:gd name="connsiteY1" fmla="*/ 0 h 161861"/>
                <a:gd name="connsiteX2" fmla="*/ 99631 w 99631"/>
                <a:gd name="connsiteY2" fmla="*/ 80962 h 161861"/>
                <a:gd name="connsiteX3" fmla="*/ 48006 w 99631"/>
                <a:gd name="connsiteY3" fmla="*/ 161862 h 161861"/>
                <a:gd name="connsiteX4" fmla="*/ 0 w 99631"/>
                <a:gd name="connsiteY4" fmla="*/ 161862 h 161861"/>
                <a:gd name="connsiteX5" fmla="*/ 51625 w 99631"/>
                <a:gd name="connsiteY5" fmla="*/ 80962 h 1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631" h="161861">
                  <a:moveTo>
                    <a:pt x="0" y="0"/>
                  </a:moveTo>
                  <a:lnTo>
                    <a:pt x="48006" y="0"/>
                  </a:lnTo>
                  <a:lnTo>
                    <a:pt x="99631" y="80962"/>
                  </a:lnTo>
                  <a:lnTo>
                    <a:pt x="48006" y="161862"/>
                  </a:lnTo>
                  <a:lnTo>
                    <a:pt x="0" y="161862"/>
                  </a:lnTo>
                  <a:lnTo>
                    <a:pt x="51625" y="80962"/>
                  </a:lnTo>
                  <a:close/>
                </a:path>
              </a:pathLst>
            </a:custGeom>
            <a:solidFill>
              <a:schemeClr val="bg2">
                <a:alpha val="23000"/>
              </a:scheme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80136C2-DE7F-02D4-C0C1-88969CD76BC9}"/>
              </a:ext>
            </a:extLst>
          </p:cNvPr>
          <p:cNvSpPr/>
          <p:nvPr userDrawn="1"/>
        </p:nvSpPr>
        <p:spPr>
          <a:xfrm>
            <a:off x="577869" y="1519971"/>
            <a:ext cx="3547872" cy="4700016"/>
          </a:xfrm>
          <a:custGeom>
            <a:avLst/>
            <a:gdLst>
              <a:gd name="connsiteX0" fmla="*/ 1 w 3558618"/>
              <a:gd name="connsiteY0" fmla="*/ 0 h 4711129"/>
              <a:gd name="connsiteX1" fmla="*/ 1001702 w 3558618"/>
              <a:gd name="connsiteY1" fmla="*/ 0 h 4711129"/>
              <a:gd name="connsiteX2" fmla="*/ 1231093 w 3558618"/>
              <a:gd name="connsiteY2" fmla="*/ 110171 h 4711129"/>
              <a:gd name="connsiteX3" fmla="*/ 3558618 w 3558618"/>
              <a:gd name="connsiteY3" fmla="*/ 110171 h 4711129"/>
              <a:gd name="connsiteX4" fmla="*/ 3558618 w 3558618"/>
              <a:gd name="connsiteY4" fmla="*/ 4711129 h 4711129"/>
              <a:gd name="connsiteX5" fmla="*/ 0 w 3558618"/>
              <a:gd name="connsiteY5" fmla="*/ 4711129 h 4711129"/>
              <a:gd name="connsiteX6" fmla="*/ 0 w 3558618"/>
              <a:gd name="connsiteY6" fmla="*/ 110171 h 4711129"/>
              <a:gd name="connsiteX7" fmla="*/ 1 w 3558618"/>
              <a:gd name="connsiteY7" fmla="*/ 110171 h 4711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58618" h="4711129">
                <a:moveTo>
                  <a:pt x="1" y="0"/>
                </a:moveTo>
                <a:lnTo>
                  <a:pt x="1001702" y="0"/>
                </a:lnTo>
                <a:lnTo>
                  <a:pt x="1231093" y="110171"/>
                </a:lnTo>
                <a:lnTo>
                  <a:pt x="3558618" y="110171"/>
                </a:lnTo>
                <a:lnTo>
                  <a:pt x="3558618" y="4711129"/>
                </a:lnTo>
                <a:lnTo>
                  <a:pt x="0" y="4711129"/>
                </a:lnTo>
                <a:lnTo>
                  <a:pt x="0" y="110171"/>
                </a:lnTo>
                <a:lnTo>
                  <a:pt x="1" y="110171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E6389EE-598D-5533-FA5E-C87DE9B40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1678" y="1828483"/>
            <a:ext cx="3200400" cy="4195762"/>
          </a:xfrm>
        </p:spPr>
        <p:txBody>
          <a:bodyPr anchor="ctr" anchorCtr="0"/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833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5417A66-28C9-4F74-8725-ED614CCC78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02571" y="2267712"/>
            <a:ext cx="5166493" cy="347472"/>
          </a:xfrm>
        </p:spPr>
        <p:txBody>
          <a:bodyPr/>
          <a:lstStyle>
            <a:lvl1pPr marL="0" indent="0" algn="ctr">
              <a:buFontTx/>
              <a:buNone/>
              <a:defRPr b="1"/>
            </a:lvl1pPr>
          </a:lstStyle>
          <a:p>
            <a:pPr lvl="0"/>
            <a:r>
              <a:rPr lang="en-US" dirty="0"/>
              <a:t>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71067A-153F-402A-9705-FE668216495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68361" y="2267712"/>
            <a:ext cx="5166489" cy="347472"/>
          </a:xfrm>
        </p:spPr>
        <p:txBody>
          <a:bodyPr/>
          <a:lstStyle>
            <a:lvl1pPr marL="0" indent="0" algn="ctr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02571" y="2733199"/>
            <a:ext cx="5166360" cy="281201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66360" cy="2818946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0" y="5726510"/>
            <a:ext cx="5166359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2571" y="5726510"/>
            <a:ext cx="5166360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84130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322676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322676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37558" y="2733198"/>
            <a:ext cx="3353221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7558" y="5726509"/>
            <a:ext cx="3353221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7558" y="2262961"/>
            <a:ext cx="335322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37172" y="2733198"/>
            <a:ext cx="3322967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342900" indent="-342900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7172" y="2262961"/>
            <a:ext cx="3322967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89004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89004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77252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03887" y="2743246"/>
            <a:ext cx="2446288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3887" y="5726509"/>
            <a:ext cx="2446288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3887" y="2262962"/>
            <a:ext cx="244628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396567" y="2733198"/>
            <a:ext cx="2446288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6567" y="5726509"/>
            <a:ext cx="2446288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96567" y="2262962"/>
            <a:ext cx="244628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189247" y="2733197"/>
            <a:ext cx="2389005" cy="2818947"/>
          </a:xfrm>
          <a:prstGeom prst="rect">
            <a:avLst/>
          </a:pr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9247" y="5726508"/>
            <a:ext cx="2389475" cy="276999"/>
          </a:xfrm>
        </p:spPr>
        <p:txBody>
          <a:bodyPr wrap="square"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89247" y="2262961"/>
            <a:ext cx="2389476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9478720-7D3D-0409-255F-9E0853F32A1D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017382F-D235-D7F1-1BA2-23C087D15910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solidFill>
              <a:schemeClr val="tx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2967094-2C91-949A-F4D5-52E403609A0C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44F5692-D65B-8D88-1FAB-15C86A9D621F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BD242E68-DB69-0BDE-8CFA-EE8E56F385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Picture Placeholder 2">
            <a:extLst>
              <a:ext uri="{FF2B5EF4-FFF2-40B4-BE49-F238E27FC236}">
                <a16:creationId xmlns:a16="http://schemas.microsoft.com/office/drawing/2014/main" id="{F230A0F3-DF2C-EA24-61B5-0FD5D898B35D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75135" y="1705390"/>
            <a:ext cx="3429000" cy="3738009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48252" h="3738009">
                <a:moveTo>
                  <a:pt x="0" y="7257"/>
                </a:moveTo>
                <a:lnTo>
                  <a:pt x="2791922" y="0"/>
                </a:lnTo>
                <a:lnTo>
                  <a:pt x="3439288" y="400234"/>
                </a:lnTo>
                <a:lnTo>
                  <a:pt x="3448252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7820" y="2632401"/>
            <a:ext cx="4389120" cy="387798"/>
          </a:xfrm>
        </p:spPr>
        <p:txBody>
          <a:bodyPr anchor="b" anchorCtr="0">
            <a:sp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8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612536C-BA3B-C635-0F6C-8C0D1F872979}"/>
              </a:ext>
            </a:extLst>
          </p:cNvPr>
          <p:cNvGrpSpPr/>
          <p:nvPr userDrawn="1"/>
        </p:nvGrpSpPr>
        <p:grpSpPr>
          <a:xfrm>
            <a:off x="1849678" y="6154703"/>
            <a:ext cx="1507346" cy="86513"/>
            <a:chOff x="1348801" y="4612172"/>
            <a:chExt cx="1507346" cy="86513"/>
          </a:xfrm>
        </p:grpSpPr>
        <p:sp>
          <p:nvSpPr>
            <p:cNvPr id="59" name="Graphic 15">
              <a:extLst>
                <a:ext uri="{FF2B5EF4-FFF2-40B4-BE49-F238E27FC236}">
                  <a16:creationId xmlns:a16="http://schemas.microsoft.com/office/drawing/2014/main" id="{24877D6C-2462-3EAF-AC11-F1957F33DE0D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Graphic 15">
              <a:extLst>
                <a:ext uri="{FF2B5EF4-FFF2-40B4-BE49-F238E27FC236}">
                  <a16:creationId xmlns:a16="http://schemas.microsoft.com/office/drawing/2014/main" id="{FA9A5B35-00A3-44B9-95B7-5D28DFB73DAE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Graphic 15">
              <a:extLst>
                <a:ext uri="{FF2B5EF4-FFF2-40B4-BE49-F238E27FC236}">
                  <a16:creationId xmlns:a16="http://schemas.microsoft.com/office/drawing/2014/main" id="{840AF6FC-483D-1B30-59DA-54E6EA98F361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Graphic 15">
              <a:extLst>
                <a:ext uri="{FF2B5EF4-FFF2-40B4-BE49-F238E27FC236}">
                  <a16:creationId xmlns:a16="http://schemas.microsoft.com/office/drawing/2014/main" id="{B5845DBE-5B99-15AB-F3C1-5F22A4CEFB97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Graphic 15">
              <a:extLst>
                <a:ext uri="{FF2B5EF4-FFF2-40B4-BE49-F238E27FC236}">
                  <a16:creationId xmlns:a16="http://schemas.microsoft.com/office/drawing/2014/main" id="{EA9C17C2-DD67-516A-9959-1247CF8F03E1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Graphic 15">
              <a:extLst>
                <a:ext uri="{FF2B5EF4-FFF2-40B4-BE49-F238E27FC236}">
                  <a16:creationId xmlns:a16="http://schemas.microsoft.com/office/drawing/2014/main" id="{8AA53179-1C06-3510-2639-008728DA58C1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Graphic 15">
              <a:extLst>
                <a:ext uri="{FF2B5EF4-FFF2-40B4-BE49-F238E27FC236}">
                  <a16:creationId xmlns:a16="http://schemas.microsoft.com/office/drawing/2014/main" id="{4DC4DFD4-0970-BBAB-3062-7282895C9B3B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66" name="Graphic 65">
            <a:extLst>
              <a:ext uri="{FF2B5EF4-FFF2-40B4-BE49-F238E27FC236}">
                <a16:creationId xmlns:a16="http://schemas.microsoft.com/office/drawing/2014/main" id="{C46B473C-8C9F-93BA-E3E1-2B54A7FA8E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63025" y="2879774"/>
            <a:ext cx="3228975" cy="297180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8C7A0B03-377F-AD7B-841B-049EBAA374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7820" y="3108960"/>
            <a:ext cx="4389120" cy="365760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Tx/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US" dirty="0"/>
              <a:t>Title</a:t>
            </a:r>
          </a:p>
        </p:txBody>
      </p:sp>
      <p:sp>
        <p:nvSpPr>
          <p:cNvPr id="88" name="Freeform 13">
            <a:extLst>
              <a:ext uri="{FF2B5EF4-FFF2-40B4-BE49-F238E27FC236}">
                <a16:creationId xmlns:a16="http://schemas.microsoft.com/office/drawing/2014/main" id="{640282A2-BB16-8BC3-4A46-D7175374FF4F}"/>
              </a:ext>
            </a:extLst>
          </p:cNvPr>
          <p:cNvSpPr/>
          <p:nvPr/>
        </p:nvSpPr>
        <p:spPr>
          <a:xfrm>
            <a:off x="862242" y="1606712"/>
            <a:ext cx="3578771" cy="4158351"/>
          </a:xfrm>
          <a:custGeom>
            <a:avLst/>
            <a:gdLst>
              <a:gd name="connsiteX0" fmla="*/ 0 w 2317531"/>
              <a:gd name="connsiteY0" fmla="*/ 0 h 4193627"/>
              <a:gd name="connsiteX1" fmla="*/ 1923393 w 2317531"/>
              <a:gd name="connsiteY1" fmla="*/ 0 h 4193627"/>
              <a:gd name="connsiteX2" fmla="*/ 2317531 w 2317531"/>
              <a:gd name="connsiteY2" fmla="*/ 394138 h 4193627"/>
              <a:gd name="connsiteX3" fmla="*/ 2317531 w 2317531"/>
              <a:gd name="connsiteY3" fmla="*/ 4193627 h 4193627"/>
              <a:gd name="connsiteX4" fmla="*/ 2104696 w 2317531"/>
              <a:gd name="connsiteY4" fmla="*/ 4193627 h 4193627"/>
              <a:gd name="connsiteX5" fmla="*/ 23648 w 2317531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302286 w 2302286"/>
              <a:gd name="connsiteY2" fmla="*/ 39413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7871 w 2302286"/>
              <a:gd name="connsiteY2" fmla="*/ 352451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7872 w 2302286"/>
              <a:gd name="connsiteY2" fmla="*/ 366347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0605 w 2302286"/>
              <a:gd name="connsiteY2" fmla="*/ 352452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08148 w 2302286"/>
              <a:gd name="connsiteY1" fmla="*/ 0 h 4193627"/>
              <a:gd name="connsiteX2" fmla="*/ 2280606 w 2302286"/>
              <a:gd name="connsiteY2" fmla="*/ 359400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898743 w 2302286"/>
              <a:gd name="connsiteY1" fmla="*/ 2259 h 4193627"/>
              <a:gd name="connsiteX2" fmla="*/ 2280606 w 2302286"/>
              <a:gd name="connsiteY2" fmla="*/ 359400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898743 w 2302286"/>
              <a:gd name="connsiteY1" fmla="*/ 2259 h 4193627"/>
              <a:gd name="connsiteX2" fmla="*/ 2271202 w 2302286"/>
              <a:gd name="connsiteY2" fmla="*/ 36617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71202 w 2302286"/>
              <a:gd name="connsiteY2" fmla="*/ 366178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64230 w 2302286"/>
              <a:gd name="connsiteY2" fmla="*/ 498136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302286"/>
              <a:gd name="connsiteY0" fmla="*/ 0 h 4193627"/>
              <a:gd name="connsiteX1" fmla="*/ 1954513 w 2302286"/>
              <a:gd name="connsiteY1" fmla="*/ 7757 h 4193627"/>
              <a:gd name="connsiteX2" fmla="*/ 2274687 w 2302286"/>
              <a:gd name="connsiteY2" fmla="*/ 503634 h 4193627"/>
              <a:gd name="connsiteX3" fmla="*/ 2302286 w 2302286"/>
              <a:gd name="connsiteY3" fmla="*/ 4193627 h 4193627"/>
              <a:gd name="connsiteX4" fmla="*/ 2089451 w 2302286"/>
              <a:gd name="connsiteY4" fmla="*/ 4193627 h 4193627"/>
              <a:gd name="connsiteX5" fmla="*/ 8403 w 2302286"/>
              <a:gd name="connsiteY5" fmla="*/ 4193627 h 4193627"/>
              <a:gd name="connsiteX0" fmla="*/ 0 w 2291829"/>
              <a:gd name="connsiteY0" fmla="*/ 0 h 4193627"/>
              <a:gd name="connsiteX1" fmla="*/ 1954513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954513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4687 w 2291829"/>
              <a:gd name="connsiteY2" fmla="*/ 50363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1201 w 2291829"/>
              <a:gd name="connsiteY2" fmla="*/ 410164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2003311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9997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88884 w 2291829"/>
              <a:gd name="connsiteY1" fmla="*/ 7757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68239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38210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0 h 4193627"/>
              <a:gd name="connsiteX1" fmla="*/ 1849471 w 2291829"/>
              <a:gd name="connsiteY1" fmla="*/ 4796 h 4193627"/>
              <a:gd name="connsiteX2" fmla="*/ 2271201 w 2291829"/>
              <a:gd name="connsiteY2" fmla="*/ 426659 h 4193627"/>
              <a:gd name="connsiteX3" fmla="*/ 2291829 w 2291829"/>
              <a:gd name="connsiteY3" fmla="*/ 4193627 h 4193627"/>
              <a:gd name="connsiteX4" fmla="*/ 2089451 w 2291829"/>
              <a:gd name="connsiteY4" fmla="*/ 4193627 h 4193627"/>
              <a:gd name="connsiteX5" fmla="*/ 8403 w 2291829"/>
              <a:gd name="connsiteY5" fmla="*/ 4193627 h 4193627"/>
              <a:gd name="connsiteX0" fmla="*/ 0 w 2291829"/>
              <a:gd name="connsiteY0" fmla="*/ 7046 h 4200673"/>
              <a:gd name="connsiteX1" fmla="*/ 1856979 w 2291829"/>
              <a:gd name="connsiteY1" fmla="*/ 0 h 4200673"/>
              <a:gd name="connsiteX2" fmla="*/ 2271201 w 2291829"/>
              <a:gd name="connsiteY2" fmla="*/ 433705 h 4200673"/>
              <a:gd name="connsiteX3" fmla="*/ 2291829 w 2291829"/>
              <a:gd name="connsiteY3" fmla="*/ 4200673 h 4200673"/>
              <a:gd name="connsiteX4" fmla="*/ 2089451 w 2291829"/>
              <a:gd name="connsiteY4" fmla="*/ 4200673 h 4200673"/>
              <a:gd name="connsiteX5" fmla="*/ 8403 w 2291829"/>
              <a:gd name="connsiteY5" fmla="*/ 4200673 h 4200673"/>
              <a:gd name="connsiteX0" fmla="*/ 0 w 2291829"/>
              <a:gd name="connsiteY0" fmla="*/ 7046 h 4200673"/>
              <a:gd name="connsiteX1" fmla="*/ 1817330 w 2291829"/>
              <a:gd name="connsiteY1" fmla="*/ 0 h 4200673"/>
              <a:gd name="connsiteX2" fmla="*/ 2271201 w 2291829"/>
              <a:gd name="connsiteY2" fmla="*/ 433705 h 4200673"/>
              <a:gd name="connsiteX3" fmla="*/ 2291829 w 2291829"/>
              <a:gd name="connsiteY3" fmla="*/ 4200673 h 4200673"/>
              <a:gd name="connsiteX4" fmla="*/ 2089451 w 2291829"/>
              <a:gd name="connsiteY4" fmla="*/ 4200673 h 4200673"/>
              <a:gd name="connsiteX5" fmla="*/ 8403 w 2291829"/>
              <a:gd name="connsiteY5" fmla="*/ 4200673 h 420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1829" h="4200673">
                <a:moveTo>
                  <a:pt x="0" y="7046"/>
                </a:moveTo>
                <a:lnTo>
                  <a:pt x="1817330" y="0"/>
                </a:lnTo>
                <a:cubicBezTo>
                  <a:pt x="2029353" y="204281"/>
                  <a:pt x="2134986" y="307481"/>
                  <a:pt x="2271201" y="433705"/>
                </a:cubicBezTo>
                <a:cubicBezTo>
                  <a:pt x="2272520" y="1747953"/>
                  <a:pt x="2287024" y="2924913"/>
                  <a:pt x="2291829" y="4200673"/>
                </a:cubicBezTo>
                <a:lnTo>
                  <a:pt x="2089451" y="4200673"/>
                </a:lnTo>
                <a:lnTo>
                  <a:pt x="8403" y="4200673"/>
                </a:lnTo>
              </a:path>
            </a:pathLst>
          </a:custGeom>
          <a:noFill/>
          <a:ln w="9525" cap="sq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en-US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2B6AC2-3B92-DF16-433F-1EEF3C363AF9}"/>
              </a:ext>
            </a:extLst>
          </p:cNvPr>
          <p:cNvCxnSpPr>
            <a:cxnSpLocks/>
          </p:cNvCxnSpPr>
          <p:nvPr/>
        </p:nvCxnSpPr>
        <p:spPr>
          <a:xfrm>
            <a:off x="871134" y="5583073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4ED5163-3D05-6B26-B0B1-BFAAF0856053}"/>
              </a:ext>
            </a:extLst>
          </p:cNvPr>
          <p:cNvGrpSpPr/>
          <p:nvPr userDrawn="1"/>
        </p:nvGrpSpPr>
        <p:grpSpPr>
          <a:xfrm>
            <a:off x="4484586" y="2072422"/>
            <a:ext cx="53143" cy="1085389"/>
            <a:chOff x="2780760" y="2009831"/>
            <a:chExt cx="53143" cy="1085389"/>
          </a:xfrm>
        </p:grpSpPr>
        <p:grpSp>
          <p:nvGrpSpPr>
            <p:cNvPr id="91" name="Graphic 42">
              <a:extLst>
                <a:ext uri="{FF2B5EF4-FFF2-40B4-BE49-F238E27FC236}">
                  <a16:creationId xmlns:a16="http://schemas.microsoft.com/office/drawing/2014/main" id="{D17532A5-3206-47D3-F3E4-FCF4FE6CF9C8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100" name="Freeform: Shape 33">
                <a:extLst>
                  <a:ext uri="{FF2B5EF4-FFF2-40B4-BE49-F238E27FC236}">
                    <a16:creationId xmlns:a16="http://schemas.microsoft.com/office/drawing/2014/main" id="{B0B85386-4CF9-82B2-9421-B4ECD1D812A6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34">
                <a:extLst>
                  <a:ext uri="{FF2B5EF4-FFF2-40B4-BE49-F238E27FC236}">
                    <a16:creationId xmlns:a16="http://schemas.microsoft.com/office/drawing/2014/main" id="{47DE61EA-AF8E-D986-9608-48F4EF274738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35">
                <a:extLst>
                  <a:ext uri="{FF2B5EF4-FFF2-40B4-BE49-F238E27FC236}">
                    <a16:creationId xmlns:a16="http://schemas.microsoft.com/office/drawing/2014/main" id="{CC3A6614-99BD-E99A-F065-D1F519ACCF5F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36">
                <a:extLst>
                  <a:ext uri="{FF2B5EF4-FFF2-40B4-BE49-F238E27FC236}">
                    <a16:creationId xmlns:a16="http://schemas.microsoft.com/office/drawing/2014/main" id="{36815056-DF52-2214-262F-9997EF8BFDC6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37">
                <a:extLst>
                  <a:ext uri="{FF2B5EF4-FFF2-40B4-BE49-F238E27FC236}">
                    <a16:creationId xmlns:a16="http://schemas.microsoft.com/office/drawing/2014/main" id="{E340630B-643E-E52C-DA27-7C37C99BFE01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38">
                <a:extLst>
                  <a:ext uri="{FF2B5EF4-FFF2-40B4-BE49-F238E27FC236}">
                    <a16:creationId xmlns:a16="http://schemas.microsoft.com/office/drawing/2014/main" id="{31516868-6FB9-4FCC-085C-B90575C9472B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39">
                <a:extLst>
                  <a:ext uri="{FF2B5EF4-FFF2-40B4-BE49-F238E27FC236}">
                    <a16:creationId xmlns:a16="http://schemas.microsoft.com/office/drawing/2014/main" id="{696AEC6A-DC4D-0F8B-13ED-A93D801BB9D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40">
                <a:extLst>
                  <a:ext uri="{FF2B5EF4-FFF2-40B4-BE49-F238E27FC236}">
                    <a16:creationId xmlns:a16="http://schemas.microsoft.com/office/drawing/2014/main" id="{9BCA8187-E2FE-5617-C695-F68D711F37B2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41">
                <a:extLst>
                  <a:ext uri="{FF2B5EF4-FFF2-40B4-BE49-F238E27FC236}">
                    <a16:creationId xmlns:a16="http://schemas.microsoft.com/office/drawing/2014/main" id="{F987C515-545D-29C9-E15C-7CEDC1795B3C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42">
                <a:extLst>
                  <a:ext uri="{FF2B5EF4-FFF2-40B4-BE49-F238E27FC236}">
                    <a16:creationId xmlns:a16="http://schemas.microsoft.com/office/drawing/2014/main" id="{ED76B489-991C-6F0A-6EF8-9B45BCC8B1F5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43">
                <a:extLst>
                  <a:ext uri="{FF2B5EF4-FFF2-40B4-BE49-F238E27FC236}">
                    <a16:creationId xmlns:a16="http://schemas.microsoft.com/office/drawing/2014/main" id="{1ECA4D2F-008E-4D75-F9DA-B9D9FADD147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44">
                <a:extLst>
                  <a:ext uri="{FF2B5EF4-FFF2-40B4-BE49-F238E27FC236}">
                    <a16:creationId xmlns:a16="http://schemas.microsoft.com/office/drawing/2014/main" id="{1C54F8AD-3182-BEB9-1A10-BA165455ECFB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45">
                <a:extLst>
                  <a:ext uri="{FF2B5EF4-FFF2-40B4-BE49-F238E27FC236}">
                    <a16:creationId xmlns:a16="http://schemas.microsoft.com/office/drawing/2014/main" id="{7C60A748-189B-8F97-186F-77476230680D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46">
                <a:extLst>
                  <a:ext uri="{FF2B5EF4-FFF2-40B4-BE49-F238E27FC236}">
                    <a16:creationId xmlns:a16="http://schemas.microsoft.com/office/drawing/2014/main" id="{68348E86-AC87-7595-DB22-C091D2FD770C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47">
                <a:extLst>
                  <a:ext uri="{FF2B5EF4-FFF2-40B4-BE49-F238E27FC236}">
                    <a16:creationId xmlns:a16="http://schemas.microsoft.com/office/drawing/2014/main" id="{416A922F-B9E5-C09E-B82A-B805C7E71FBF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48">
                <a:extLst>
                  <a:ext uri="{FF2B5EF4-FFF2-40B4-BE49-F238E27FC236}">
                    <a16:creationId xmlns:a16="http://schemas.microsoft.com/office/drawing/2014/main" id="{913F67F1-B852-876C-1CFF-F76E708854DC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49">
                <a:extLst>
                  <a:ext uri="{FF2B5EF4-FFF2-40B4-BE49-F238E27FC236}">
                    <a16:creationId xmlns:a16="http://schemas.microsoft.com/office/drawing/2014/main" id="{3AB700D0-0B55-F1AA-E1C0-9C1672F0D420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50">
                <a:extLst>
                  <a:ext uri="{FF2B5EF4-FFF2-40B4-BE49-F238E27FC236}">
                    <a16:creationId xmlns:a16="http://schemas.microsoft.com/office/drawing/2014/main" id="{C9F9DFC0-95C6-27F8-6318-F774E100866A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51">
                <a:extLst>
                  <a:ext uri="{FF2B5EF4-FFF2-40B4-BE49-F238E27FC236}">
                    <a16:creationId xmlns:a16="http://schemas.microsoft.com/office/drawing/2014/main" id="{A0B56C42-D96F-2D47-CFC1-B2C17714E28E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52">
                <a:extLst>
                  <a:ext uri="{FF2B5EF4-FFF2-40B4-BE49-F238E27FC236}">
                    <a16:creationId xmlns:a16="http://schemas.microsoft.com/office/drawing/2014/main" id="{F7CCBCCF-623F-517B-F607-9717BDFD9DE9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EE3DAEA9-4693-0240-9FFF-D6F1ACDE7A0E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93" name="Freeform: Shape 26">
                <a:extLst>
                  <a:ext uri="{FF2B5EF4-FFF2-40B4-BE49-F238E27FC236}">
                    <a16:creationId xmlns:a16="http://schemas.microsoft.com/office/drawing/2014/main" id="{506AF8F5-9F8A-DDF2-7B0A-84AF69622978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7">
                <a:extLst>
                  <a:ext uri="{FF2B5EF4-FFF2-40B4-BE49-F238E27FC236}">
                    <a16:creationId xmlns:a16="http://schemas.microsoft.com/office/drawing/2014/main" id="{EA01BE0D-17F2-028B-1700-8766ED9B57A5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28">
                <a:extLst>
                  <a:ext uri="{FF2B5EF4-FFF2-40B4-BE49-F238E27FC236}">
                    <a16:creationId xmlns:a16="http://schemas.microsoft.com/office/drawing/2014/main" id="{CAF6ECA0-9F28-1EDC-4DC1-4D446AD661A2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29">
                <a:extLst>
                  <a:ext uri="{FF2B5EF4-FFF2-40B4-BE49-F238E27FC236}">
                    <a16:creationId xmlns:a16="http://schemas.microsoft.com/office/drawing/2014/main" id="{90CB1D3C-C184-5CDB-8938-9FA8A06BE57C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30">
                <a:extLst>
                  <a:ext uri="{FF2B5EF4-FFF2-40B4-BE49-F238E27FC236}">
                    <a16:creationId xmlns:a16="http://schemas.microsoft.com/office/drawing/2014/main" id="{56F9B5A9-7375-D5BA-5B92-F10065906C15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31">
                <a:extLst>
                  <a:ext uri="{FF2B5EF4-FFF2-40B4-BE49-F238E27FC236}">
                    <a16:creationId xmlns:a16="http://schemas.microsoft.com/office/drawing/2014/main" id="{4D85B59C-5D3F-D11B-24B6-C43908B4E0AE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32">
                <a:extLst>
                  <a:ext uri="{FF2B5EF4-FFF2-40B4-BE49-F238E27FC236}">
                    <a16:creationId xmlns:a16="http://schemas.microsoft.com/office/drawing/2014/main" id="{349E8265-C436-3C38-E109-AAD3D191AFF5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FFC28437-D28C-789A-C3FC-A6FE761726C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907820" y="4206240"/>
            <a:ext cx="3578770" cy="274320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 logo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5FE5F529-B26E-A435-3B04-0D95BA357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21537" y="1629322"/>
            <a:ext cx="864114" cy="69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>
            <a:extLst>
              <a:ext uri="{FF2B5EF4-FFF2-40B4-BE49-F238E27FC236}">
                <a16:creationId xmlns:a16="http://schemas.microsoft.com/office/drawing/2014/main" id="{3C597A72-FD48-08AC-B78F-89A1EBA1D40D}"/>
              </a:ext>
            </a:extLst>
          </p:cNvPr>
          <p:cNvGrpSpPr/>
          <p:nvPr userDrawn="1"/>
        </p:nvGrpSpPr>
        <p:grpSpPr>
          <a:xfrm>
            <a:off x="9268630" y="2151971"/>
            <a:ext cx="53143" cy="1085389"/>
            <a:chOff x="2780760" y="2009831"/>
            <a:chExt cx="53143" cy="1085389"/>
          </a:xfrm>
        </p:grpSpPr>
        <p:grpSp>
          <p:nvGrpSpPr>
            <p:cNvPr id="159" name="Graphic 42">
              <a:extLst>
                <a:ext uri="{FF2B5EF4-FFF2-40B4-BE49-F238E27FC236}">
                  <a16:creationId xmlns:a16="http://schemas.microsoft.com/office/drawing/2014/main" id="{85376E6D-6B2F-CED2-1ABF-B78F265E9734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168" name="Freeform: Shape 33">
                <a:extLst>
                  <a:ext uri="{FF2B5EF4-FFF2-40B4-BE49-F238E27FC236}">
                    <a16:creationId xmlns:a16="http://schemas.microsoft.com/office/drawing/2014/main" id="{895D99E3-192A-2C6A-6E60-2257DFFC1AA7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4">
                <a:extLst>
                  <a:ext uri="{FF2B5EF4-FFF2-40B4-BE49-F238E27FC236}">
                    <a16:creationId xmlns:a16="http://schemas.microsoft.com/office/drawing/2014/main" id="{64660769-1FDE-46A5-EAC2-61F3ECDE4BD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5">
                <a:extLst>
                  <a:ext uri="{FF2B5EF4-FFF2-40B4-BE49-F238E27FC236}">
                    <a16:creationId xmlns:a16="http://schemas.microsoft.com/office/drawing/2014/main" id="{5086FB59-7AB9-2004-32B9-D198D245341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36">
                <a:extLst>
                  <a:ext uri="{FF2B5EF4-FFF2-40B4-BE49-F238E27FC236}">
                    <a16:creationId xmlns:a16="http://schemas.microsoft.com/office/drawing/2014/main" id="{5992051C-D273-E645-6C1A-BD44D1E159EF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37">
                <a:extLst>
                  <a:ext uri="{FF2B5EF4-FFF2-40B4-BE49-F238E27FC236}">
                    <a16:creationId xmlns:a16="http://schemas.microsoft.com/office/drawing/2014/main" id="{19560546-3494-2D2C-16B6-521343A7A587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38">
                <a:extLst>
                  <a:ext uri="{FF2B5EF4-FFF2-40B4-BE49-F238E27FC236}">
                    <a16:creationId xmlns:a16="http://schemas.microsoft.com/office/drawing/2014/main" id="{456DF8BF-34F7-A50D-79FD-4006FCA133DB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39">
                <a:extLst>
                  <a:ext uri="{FF2B5EF4-FFF2-40B4-BE49-F238E27FC236}">
                    <a16:creationId xmlns:a16="http://schemas.microsoft.com/office/drawing/2014/main" id="{E0AFAD36-9985-C723-9931-10D17819D44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0">
                <a:extLst>
                  <a:ext uri="{FF2B5EF4-FFF2-40B4-BE49-F238E27FC236}">
                    <a16:creationId xmlns:a16="http://schemas.microsoft.com/office/drawing/2014/main" id="{B0BAA28A-08D2-3863-4EA3-A5550B95FDB2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1">
                <a:extLst>
                  <a:ext uri="{FF2B5EF4-FFF2-40B4-BE49-F238E27FC236}">
                    <a16:creationId xmlns:a16="http://schemas.microsoft.com/office/drawing/2014/main" id="{336621E2-A09F-777F-68DD-421CEB38406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2">
                <a:extLst>
                  <a:ext uri="{FF2B5EF4-FFF2-40B4-BE49-F238E27FC236}">
                    <a16:creationId xmlns:a16="http://schemas.microsoft.com/office/drawing/2014/main" id="{EA130766-8061-BAB8-AE82-233216AE5A52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3">
                <a:extLst>
                  <a:ext uri="{FF2B5EF4-FFF2-40B4-BE49-F238E27FC236}">
                    <a16:creationId xmlns:a16="http://schemas.microsoft.com/office/drawing/2014/main" id="{8DC5AEE3-83C6-B814-BDB3-701707A6597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4">
                <a:extLst>
                  <a:ext uri="{FF2B5EF4-FFF2-40B4-BE49-F238E27FC236}">
                    <a16:creationId xmlns:a16="http://schemas.microsoft.com/office/drawing/2014/main" id="{68492AEF-DA3C-D927-52EA-F708733C06C3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5">
                <a:extLst>
                  <a:ext uri="{FF2B5EF4-FFF2-40B4-BE49-F238E27FC236}">
                    <a16:creationId xmlns:a16="http://schemas.microsoft.com/office/drawing/2014/main" id="{C769ECFE-AA2E-D69F-36AC-90469967E124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46">
                <a:extLst>
                  <a:ext uri="{FF2B5EF4-FFF2-40B4-BE49-F238E27FC236}">
                    <a16:creationId xmlns:a16="http://schemas.microsoft.com/office/drawing/2014/main" id="{EE1FC910-6EF9-394E-746A-A5273E158D77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47">
                <a:extLst>
                  <a:ext uri="{FF2B5EF4-FFF2-40B4-BE49-F238E27FC236}">
                    <a16:creationId xmlns:a16="http://schemas.microsoft.com/office/drawing/2014/main" id="{ACF580BF-F716-0F80-0A44-0B93FA980FEB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48">
                <a:extLst>
                  <a:ext uri="{FF2B5EF4-FFF2-40B4-BE49-F238E27FC236}">
                    <a16:creationId xmlns:a16="http://schemas.microsoft.com/office/drawing/2014/main" id="{1EFE3163-5037-35FA-68F5-546096ED2A1E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49">
                <a:extLst>
                  <a:ext uri="{FF2B5EF4-FFF2-40B4-BE49-F238E27FC236}">
                    <a16:creationId xmlns:a16="http://schemas.microsoft.com/office/drawing/2014/main" id="{4574BA0F-9929-EAD5-4E03-F54803DAE7B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0">
                <a:extLst>
                  <a:ext uri="{FF2B5EF4-FFF2-40B4-BE49-F238E27FC236}">
                    <a16:creationId xmlns:a16="http://schemas.microsoft.com/office/drawing/2014/main" id="{588C1B01-59C0-951F-D27E-2D2788A54F5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1">
                <a:extLst>
                  <a:ext uri="{FF2B5EF4-FFF2-40B4-BE49-F238E27FC236}">
                    <a16:creationId xmlns:a16="http://schemas.microsoft.com/office/drawing/2014/main" id="{DCF3EC5A-866A-1323-F9BB-AE48285FAA39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2">
                <a:extLst>
                  <a:ext uri="{FF2B5EF4-FFF2-40B4-BE49-F238E27FC236}">
                    <a16:creationId xmlns:a16="http://schemas.microsoft.com/office/drawing/2014/main" id="{670246AD-8541-ACC1-2818-82650DCE3FA3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9364DEBF-23F4-B40F-BEF2-D8B5F6DBD28D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161" name="Freeform: Shape 26">
                <a:extLst>
                  <a:ext uri="{FF2B5EF4-FFF2-40B4-BE49-F238E27FC236}">
                    <a16:creationId xmlns:a16="http://schemas.microsoft.com/office/drawing/2014/main" id="{B2F94241-5A17-29FC-962E-4679ECA0AD98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27">
                <a:extLst>
                  <a:ext uri="{FF2B5EF4-FFF2-40B4-BE49-F238E27FC236}">
                    <a16:creationId xmlns:a16="http://schemas.microsoft.com/office/drawing/2014/main" id="{A7C235C2-64EB-8F59-B58C-C8F8E7A1E533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28">
                <a:extLst>
                  <a:ext uri="{FF2B5EF4-FFF2-40B4-BE49-F238E27FC236}">
                    <a16:creationId xmlns:a16="http://schemas.microsoft.com/office/drawing/2014/main" id="{3D65E08A-6521-024A-E79F-00D688581217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29">
                <a:extLst>
                  <a:ext uri="{FF2B5EF4-FFF2-40B4-BE49-F238E27FC236}">
                    <a16:creationId xmlns:a16="http://schemas.microsoft.com/office/drawing/2014/main" id="{D833442D-6F4D-A1D3-F23D-01944896650E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0">
                <a:extLst>
                  <a:ext uri="{FF2B5EF4-FFF2-40B4-BE49-F238E27FC236}">
                    <a16:creationId xmlns:a16="http://schemas.microsoft.com/office/drawing/2014/main" id="{045DC58A-67F2-032D-8CE3-A0309A21F116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1">
                <a:extLst>
                  <a:ext uri="{FF2B5EF4-FFF2-40B4-BE49-F238E27FC236}">
                    <a16:creationId xmlns:a16="http://schemas.microsoft.com/office/drawing/2014/main" id="{C30B0795-359B-5B58-B7AA-C9CFAB39C69E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2">
                <a:extLst>
                  <a:ext uri="{FF2B5EF4-FFF2-40B4-BE49-F238E27FC236}">
                    <a16:creationId xmlns:a16="http://schemas.microsoft.com/office/drawing/2014/main" id="{6ADFBAE1-3BE2-D790-22EA-E013E06A9091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36EE2AF-5EB0-48DB-9B53-50A007F7B378}"/>
              </a:ext>
            </a:extLst>
          </p:cNvPr>
          <p:cNvGrpSpPr/>
          <p:nvPr userDrawn="1"/>
        </p:nvGrpSpPr>
        <p:grpSpPr>
          <a:xfrm>
            <a:off x="6529064" y="1604554"/>
            <a:ext cx="2686939" cy="4158351"/>
            <a:chOff x="870155" y="1616872"/>
            <a:chExt cx="2686939" cy="4158351"/>
          </a:xfrm>
        </p:grpSpPr>
        <p:sp>
          <p:nvSpPr>
            <p:cNvPr id="190" name="Freeform 13">
              <a:extLst>
                <a:ext uri="{FF2B5EF4-FFF2-40B4-BE49-F238E27FC236}">
                  <a16:creationId xmlns:a16="http://schemas.microsoft.com/office/drawing/2014/main" id="{20095301-7279-2F1C-0649-128C729F70E4}"/>
                </a:ext>
              </a:extLst>
            </p:cNvPr>
            <p:cNvSpPr/>
            <p:nvPr userDrawn="1"/>
          </p:nvSpPr>
          <p:spPr>
            <a:xfrm>
              <a:off x="870155" y="1616872"/>
              <a:ext cx="2686939" cy="4158351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0704" h="4200673">
                  <a:moveTo>
                    <a:pt x="8816" y="8817"/>
                  </a:moveTo>
                  <a:lnTo>
                    <a:pt x="1246205" y="0"/>
                  </a:lnTo>
                  <a:cubicBezTo>
                    <a:pt x="1458228" y="204281"/>
                    <a:pt x="1563861" y="307481"/>
                    <a:pt x="1700076" y="433705"/>
                  </a:cubicBezTo>
                  <a:cubicBezTo>
                    <a:pt x="1701395" y="1747953"/>
                    <a:pt x="1715899" y="2924913"/>
                    <a:pt x="1720704" y="4200673"/>
                  </a:cubicBezTo>
                  <a:lnTo>
                    <a:pt x="1518326" y="4200673"/>
                  </a:lnTo>
                  <a:lnTo>
                    <a:pt x="0" y="4199431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473F8A69-41FD-9DCD-70DF-B1C8C8A2BE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1134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68014"/>
            <a:ext cx="10789920" cy="369332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90371" y="2819523"/>
            <a:ext cx="2560320" cy="276999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0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800"/>
              </a:spcBef>
              <a:buFontTx/>
              <a:buNone/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FFC28437-D28C-789A-C3FC-A6FE761726C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90371" y="4282562"/>
            <a:ext cx="2560320" cy="27432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log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17EB6B-AEC5-886D-77C5-7F250FACE5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73124" y="2819523"/>
            <a:ext cx="2560320" cy="276999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600"/>
              </a:spcBef>
              <a:buFontTx/>
              <a:buNone/>
              <a:defRPr sz="20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Text Placeholder 85">
            <a:extLst>
              <a:ext uri="{FF2B5EF4-FFF2-40B4-BE49-F238E27FC236}">
                <a16:creationId xmlns:a16="http://schemas.microsoft.com/office/drawing/2014/main" id="{8D5B8CB7-AE78-FC23-54E6-71198BA7C4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73124" y="3233233"/>
            <a:ext cx="2560320" cy="45720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n-US" dirty="0"/>
              <a:t>Title</a:t>
            </a:r>
          </a:p>
        </p:txBody>
      </p:sp>
      <p:sp>
        <p:nvSpPr>
          <p:cNvPr id="42" name="Text Placeholder 121">
            <a:extLst>
              <a:ext uri="{FF2B5EF4-FFF2-40B4-BE49-F238E27FC236}">
                <a16:creationId xmlns:a16="http://schemas.microsoft.com/office/drawing/2014/main" id="{982DEC5A-87F3-D183-1BC9-D87A783B99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3124" y="4282562"/>
            <a:ext cx="2560320" cy="274320"/>
          </a:xfrm>
        </p:spPr>
        <p:txBody>
          <a:bodyPr vert="horz" lIns="0" tIns="0" rIns="0" bIns="0" rtlCol="0">
            <a:noAutofit/>
          </a:bodyPr>
          <a:lstStyle>
            <a:lvl1pPr marL="342900" indent="-342900" algn="l">
              <a:buFontTx/>
              <a:buNone/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Company Name / logo</a:t>
            </a:r>
          </a:p>
        </p:txBody>
      </p:sp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6BC94F3-AB96-959E-378F-8050EABF35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90371" y="3233233"/>
            <a:ext cx="2560320" cy="457200"/>
          </a:xfrm>
        </p:spPr>
        <p:txBody>
          <a:bodyPr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en-US" dirty="0"/>
              <a:t>Title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E0A0573-DDC9-BA18-43EC-2DC4D041D31D}"/>
              </a:ext>
            </a:extLst>
          </p:cNvPr>
          <p:cNvGrpSpPr/>
          <p:nvPr userDrawn="1"/>
        </p:nvGrpSpPr>
        <p:grpSpPr>
          <a:xfrm>
            <a:off x="3609721" y="2151971"/>
            <a:ext cx="53143" cy="1085389"/>
            <a:chOff x="2780760" y="2009831"/>
            <a:chExt cx="53143" cy="1085389"/>
          </a:xfrm>
        </p:grpSpPr>
        <p:grpSp>
          <p:nvGrpSpPr>
            <p:cNvPr id="89" name="Graphic 42">
              <a:extLst>
                <a:ext uri="{FF2B5EF4-FFF2-40B4-BE49-F238E27FC236}">
                  <a16:creationId xmlns:a16="http://schemas.microsoft.com/office/drawing/2014/main" id="{0814C561-B980-5321-F8B1-DC959A00C8AB}"/>
                </a:ext>
              </a:extLst>
            </p:cNvPr>
            <p:cNvGrpSpPr/>
            <p:nvPr userDrawn="1"/>
          </p:nvGrpSpPr>
          <p:grpSpPr>
            <a:xfrm rot="16200000" flipH="1" flipV="1">
              <a:off x="2482218" y="2310772"/>
              <a:ext cx="650227" cy="48346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98" name="Freeform: Shape 33">
                <a:extLst>
                  <a:ext uri="{FF2B5EF4-FFF2-40B4-BE49-F238E27FC236}">
                    <a16:creationId xmlns:a16="http://schemas.microsoft.com/office/drawing/2014/main" id="{897CB401-CA5C-A404-6CFC-8DE3CD2534C6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34">
                <a:extLst>
                  <a:ext uri="{FF2B5EF4-FFF2-40B4-BE49-F238E27FC236}">
                    <a16:creationId xmlns:a16="http://schemas.microsoft.com/office/drawing/2014/main" id="{BCDA2D36-711C-9385-3A59-92C4AE00169C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35">
                <a:extLst>
                  <a:ext uri="{FF2B5EF4-FFF2-40B4-BE49-F238E27FC236}">
                    <a16:creationId xmlns:a16="http://schemas.microsoft.com/office/drawing/2014/main" id="{4614E3A4-184F-9610-7E82-430C924C7F05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36">
                <a:extLst>
                  <a:ext uri="{FF2B5EF4-FFF2-40B4-BE49-F238E27FC236}">
                    <a16:creationId xmlns:a16="http://schemas.microsoft.com/office/drawing/2014/main" id="{DDCD6A0F-743E-7A35-926C-EBD088887FA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37">
                <a:extLst>
                  <a:ext uri="{FF2B5EF4-FFF2-40B4-BE49-F238E27FC236}">
                    <a16:creationId xmlns:a16="http://schemas.microsoft.com/office/drawing/2014/main" id="{34EDA46B-D44B-0170-E7CC-E938CC9F14E7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38">
                <a:extLst>
                  <a:ext uri="{FF2B5EF4-FFF2-40B4-BE49-F238E27FC236}">
                    <a16:creationId xmlns:a16="http://schemas.microsoft.com/office/drawing/2014/main" id="{DCBC6FBB-2BF3-AD01-3F8E-4CDD362E7C1A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39">
                <a:extLst>
                  <a:ext uri="{FF2B5EF4-FFF2-40B4-BE49-F238E27FC236}">
                    <a16:creationId xmlns:a16="http://schemas.microsoft.com/office/drawing/2014/main" id="{9DBB5DD7-42E1-EF6F-A91B-2D1DAE87E66D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40">
                <a:extLst>
                  <a:ext uri="{FF2B5EF4-FFF2-40B4-BE49-F238E27FC236}">
                    <a16:creationId xmlns:a16="http://schemas.microsoft.com/office/drawing/2014/main" id="{D5908E12-FBA6-CF71-1B36-F499BDB1EF08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41">
                <a:extLst>
                  <a:ext uri="{FF2B5EF4-FFF2-40B4-BE49-F238E27FC236}">
                    <a16:creationId xmlns:a16="http://schemas.microsoft.com/office/drawing/2014/main" id="{5D82BE92-AD17-2389-3C22-B9F914203700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42">
                <a:extLst>
                  <a:ext uri="{FF2B5EF4-FFF2-40B4-BE49-F238E27FC236}">
                    <a16:creationId xmlns:a16="http://schemas.microsoft.com/office/drawing/2014/main" id="{8D967CB5-011F-67E0-4F35-E5020D57B221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43">
                <a:extLst>
                  <a:ext uri="{FF2B5EF4-FFF2-40B4-BE49-F238E27FC236}">
                    <a16:creationId xmlns:a16="http://schemas.microsoft.com/office/drawing/2014/main" id="{FD2C53EF-EC3D-6711-9822-71EFA3432D0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44">
                <a:extLst>
                  <a:ext uri="{FF2B5EF4-FFF2-40B4-BE49-F238E27FC236}">
                    <a16:creationId xmlns:a16="http://schemas.microsoft.com/office/drawing/2014/main" id="{2A477F67-E84E-4E70-3644-0F761CF76167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45">
                <a:extLst>
                  <a:ext uri="{FF2B5EF4-FFF2-40B4-BE49-F238E27FC236}">
                    <a16:creationId xmlns:a16="http://schemas.microsoft.com/office/drawing/2014/main" id="{1E4D49D8-A120-46DE-6B91-0E6E1BE5843F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46">
                <a:extLst>
                  <a:ext uri="{FF2B5EF4-FFF2-40B4-BE49-F238E27FC236}">
                    <a16:creationId xmlns:a16="http://schemas.microsoft.com/office/drawing/2014/main" id="{954A8D96-4640-0600-35DD-811CD60B8F56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47">
                <a:extLst>
                  <a:ext uri="{FF2B5EF4-FFF2-40B4-BE49-F238E27FC236}">
                    <a16:creationId xmlns:a16="http://schemas.microsoft.com/office/drawing/2014/main" id="{B3B35627-31CE-E23E-B15C-7AFB0A02DDAA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48">
                <a:extLst>
                  <a:ext uri="{FF2B5EF4-FFF2-40B4-BE49-F238E27FC236}">
                    <a16:creationId xmlns:a16="http://schemas.microsoft.com/office/drawing/2014/main" id="{05FD8159-B48F-9206-B611-EE71C973ED96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49">
                <a:extLst>
                  <a:ext uri="{FF2B5EF4-FFF2-40B4-BE49-F238E27FC236}">
                    <a16:creationId xmlns:a16="http://schemas.microsoft.com/office/drawing/2014/main" id="{AB81FA09-5A52-F5ED-CF17-664838636596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50">
                <a:extLst>
                  <a:ext uri="{FF2B5EF4-FFF2-40B4-BE49-F238E27FC236}">
                    <a16:creationId xmlns:a16="http://schemas.microsoft.com/office/drawing/2014/main" id="{4CC626D7-C1E2-66FB-1FF4-E42671B24E12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51">
                <a:extLst>
                  <a:ext uri="{FF2B5EF4-FFF2-40B4-BE49-F238E27FC236}">
                    <a16:creationId xmlns:a16="http://schemas.microsoft.com/office/drawing/2014/main" id="{F6AFD732-FEA2-4177-0BB0-049C520BA52A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52">
                <a:extLst>
                  <a:ext uri="{FF2B5EF4-FFF2-40B4-BE49-F238E27FC236}">
                    <a16:creationId xmlns:a16="http://schemas.microsoft.com/office/drawing/2014/main" id="{05A241EF-181E-031F-76A3-0C46C9211482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F699AF9-5ED2-DE56-0D8E-1DB32516086C}"/>
                </a:ext>
              </a:extLst>
            </p:cNvPr>
            <p:cNvGrpSpPr/>
            <p:nvPr userDrawn="1"/>
          </p:nvGrpSpPr>
          <p:grpSpPr>
            <a:xfrm rot="10800000" flipV="1">
              <a:off x="2780760" y="2715971"/>
              <a:ext cx="53143" cy="379249"/>
              <a:chOff x="5390750" y="3681616"/>
              <a:chExt cx="73151" cy="522033"/>
            </a:xfrm>
          </p:grpSpPr>
          <p:sp>
            <p:nvSpPr>
              <p:cNvPr id="91" name="Freeform: Shape 26">
                <a:extLst>
                  <a:ext uri="{FF2B5EF4-FFF2-40B4-BE49-F238E27FC236}">
                    <a16:creationId xmlns:a16="http://schemas.microsoft.com/office/drawing/2014/main" id="{500B83B9-7108-22CC-FF73-3885AFF2500F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27">
                <a:extLst>
                  <a:ext uri="{FF2B5EF4-FFF2-40B4-BE49-F238E27FC236}">
                    <a16:creationId xmlns:a16="http://schemas.microsoft.com/office/drawing/2014/main" id="{9AE02ABE-3512-DCFE-A4C8-D1FC7E53AA71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28">
                <a:extLst>
                  <a:ext uri="{FF2B5EF4-FFF2-40B4-BE49-F238E27FC236}">
                    <a16:creationId xmlns:a16="http://schemas.microsoft.com/office/drawing/2014/main" id="{ABBFB1B3-6D53-E948-ED01-1B7ADA372109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9">
                <a:extLst>
                  <a:ext uri="{FF2B5EF4-FFF2-40B4-BE49-F238E27FC236}">
                    <a16:creationId xmlns:a16="http://schemas.microsoft.com/office/drawing/2014/main" id="{8819CF10-D940-01DE-5E09-06224D6675D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30">
                <a:extLst>
                  <a:ext uri="{FF2B5EF4-FFF2-40B4-BE49-F238E27FC236}">
                    <a16:creationId xmlns:a16="http://schemas.microsoft.com/office/drawing/2014/main" id="{2AB11BE5-7791-61F5-2D95-C7E99CDDF943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31">
                <a:extLst>
                  <a:ext uri="{FF2B5EF4-FFF2-40B4-BE49-F238E27FC236}">
                    <a16:creationId xmlns:a16="http://schemas.microsoft.com/office/drawing/2014/main" id="{BFC17C7D-CAEA-CC88-5930-B2D426DBAF3F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32">
                <a:extLst>
                  <a:ext uri="{FF2B5EF4-FFF2-40B4-BE49-F238E27FC236}">
                    <a16:creationId xmlns:a16="http://schemas.microsoft.com/office/drawing/2014/main" id="{F72AF9E5-5F6A-75D7-2FCC-8B846948BDA8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55" name="Graphic 54">
            <a:extLst>
              <a:ext uri="{FF2B5EF4-FFF2-40B4-BE49-F238E27FC236}">
                <a16:creationId xmlns:a16="http://schemas.microsoft.com/office/drawing/2014/main" id="{5352FA80-1A02-A3E3-4419-D785AEE01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72" y="1623848"/>
            <a:ext cx="457096" cy="369333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32D0A4E1-0ADB-0218-7820-7BDD6D6C0C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8334" y="1623848"/>
            <a:ext cx="457096" cy="369333"/>
          </a:xfrm>
          <a:prstGeom prst="rect">
            <a:avLst/>
          </a:prstGeom>
        </p:spPr>
      </p:pic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B6768A96-3683-5AC4-8556-B0483323A935}"/>
              </a:ext>
            </a:extLst>
          </p:cNvPr>
          <p:cNvSpPr>
            <a:spLocks noGrp="1"/>
          </p:cNvSpPr>
          <p:nvPr>
            <p:ph type="pic" idx="25" hasCustomPrompt="1"/>
          </p:nvPr>
        </p:nvSpPr>
        <p:spPr>
          <a:xfrm>
            <a:off x="875135" y="1705391"/>
            <a:ext cx="2528028" cy="2925472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92731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512203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38305 w 2559369"/>
              <a:gd name="connsiteY2" fmla="*/ 522452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40212"/>
              <a:gd name="connsiteY0" fmla="*/ 7257 h 3738009"/>
              <a:gd name="connsiteX1" fmla="*/ 1903039 w 2540212"/>
              <a:gd name="connsiteY1" fmla="*/ 0 h 3738009"/>
              <a:gd name="connsiteX2" fmla="*/ 2538305 w 2540212"/>
              <a:gd name="connsiteY2" fmla="*/ 522452 h 3738009"/>
              <a:gd name="connsiteX3" fmla="*/ 2540212 w 2540212"/>
              <a:gd name="connsiteY3" fmla="*/ 3738009 h 3738009"/>
              <a:gd name="connsiteX4" fmla="*/ 0 w 2540212"/>
              <a:gd name="connsiteY4" fmla="*/ 3738009 h 3738009"/>
              <a:gd name="connsiteX5" fmla="*/ 0 w 2540212"/>
              <a:gd name="connsiteY5" fmla="*/ 7257 h 3738009"/>
              <a:gd name="connsiteX0" fmla="*/ 0 w 2542221"/>
              <a:gd name="connsiteY0" fmla="*/ 7257 h 3738009"/>
              <a:gd name="connsiteX1" fmla="*/ 1903039 w 2542221"/>
              <a:gd name="connsiteY1" fmla="*/ 0 h 3738009"/>
              <a:gd name="connsiteX2" fmla="*/ 2542137 w 2542221"/>
              <a:gd name="connsiteY2" fmla="*/ 507848 h 3738009"/>
              <a:gd name="connsiteX3" fmla="*/ 2540212 w 2542221"/>
              <a:gd name="connsiteY3" fmla="*/ 3738009 h 3738009"/>
              <a:gd name="connsiteX4" fmla="*/ 0 w 2542221"/>
              <a:gd name="connsiteY4" fmla="*/ 3738009 h 3738009"/>
              <a:gd name="connsiteX5" fmla="*/ 0 w 2542221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2221" h="3738009">
                <a:moveTo>
                  <a:pt x="0" y="7257"/>
                </a:moveTo>
                <a:lnTo>
                  <a:pt x="1903039" y="0"/>
                </a:lnTo>
                <a:lnTo>
                  <a:pt x="2542137" y="507848"/>
                </a:lnTo>
                <a:cubicBezTo>
                  <a:pt x="2542773" y="1579700"/>
                  <a:pt x="2539576" y="2666157"/>
                  <a:pt x="2540212" y="3738009"/>
                </a:cubicBez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561912C4-C037-30AE-B710-B859E6E2005E}"/>
              </a:ext>
            </a:extLst>
          </p:cNvPr>
          <p:cNvGrpSpPr/>
          <p:nvPr userDrawn="1"/>
        </p:nvGrpSpPr>
        <p:grpSpPr>
          <a:xfrm>
            <a:off x="863228" y="1604554"/>
            <a:ext cx="2686939" cy="4160509"/>
            <a:chOff x="870155" y="1614714"/>
            <a:chExt cx="2686939" cy="4160509"/>
          </a:xfrm>
        </p:grpSpPr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B7D856F9-1ADC-C610-D95E-F4EC5FC6F65B}"/>
                </a:ext>
              </a:extLst>
            </p:cNvPr>
            <p:cNvSpPr/>
            <p:nvPr userDrawn="1"/>
          </p:nvSpPr>
          <p:spPr>
            <a:xfrm>
              <a:off x="870155" y="1614714"/>
              <a:ext cx="2686939" cy="4160509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0704" h="4202853">
                  <a:moveTo>
                    <a:pt x="102" y="0"/>
                  </a:moveTo>
                  <a:lnTo>
                    <a:pt x="1246205" y="2180"/>
                  </a:lnTo>
                  <a:cubicBezTo>
                    <a:pt x="1458228" y="206461"/>
                    <a:pt x="1563861" y="309661"/>
                    <a:pt x="1700076" y="435885"/>
                  </a:cubicBezTo>
                  <a:cubicBezTo>
                    <a:pt x="1701395" y="1750133"/>
                    <a:pt x="1715899" y="2927093"/>
                    <a:pt x="1720704" y="4202853"/>
                  </a:cubicBezTo>
                  <a:lnTo>
                    <a:pt x="1518326" y="4202853"/>
                  </a:lnTo>
                  <a:lnTo>
                    <a:pt x="0" y="4201611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95227C6D-6903-B7BA-CB62-33BF2A1908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1134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AA6D5D17-1369-D41A-E231-6A328644A8E7}"/>
              </a:ext>
            </a:extLst>
          </p:cNvPr>
          <p:cNvSpPr>
            <a:spLocks noGrp="1"/>
          </p:cNvSpPr>
          <p:nvPr>
            <p:ph type="pic" idx="29" hasCustomPrompt="1"/>
          </p:nvPr>
        </p:nvSpPr>
        <p:spPr>
          <a:xfrm>
            <a:off x="6554058" y="1705391"/>
            <a:ext cx="2528028" cy="2925472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92731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512203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38305 w 2559369"/>
              <a:gd name="connsiteY2" fmla="*/ 522452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  <a:gd name="connsiteX0" fmla="*/ 0 w 2540212"/>
              <a:gd name="connsiteY0" fmla="*/ 7257 h 3738009"/>
              <a:gd name="connsiteX1" fmla="*/ 1903039 w 2540212"/>
              <a:gd name="connsiteY1" fmla="*/ 0 h 3738009"/>
              <a:gd name="connsiteX2" fmla="*/ 2538305 w 2540212"/>
              <a:gd name="connsiteY2" fmla="*/ 522452 h 3738009"/>
              <a:gd name="connsiteX3" fmla="*/ 2540212 w 2540212"/>
              <a:gd name="connsiteY3" fmla="*/ 3738009 h 3738009"/>
              <a:gd name="connsiteX4" fmla="*/ 0 w 2540212"/>
              <a:gd name="connsiteY4" fmla="*/ 3738009 h 3738009"/>
              <a:gd name="connsiteX5" fmla="*/ 0 w 2540212"/>
              <a:gd name="connsiteY5" fmla="*/ 7257 h 3738009"/>
              <a:gd name="connsiteX0" fmla="*/ 0 w 2542221"/>
              <a:gd name="connsiteY0" fmla="*/ 7257 h 3738009"/>
              <a:gd name="connsiteX1" fmla="*/ 1903039 w 2542221"/>
              <a:gd name="connsiteY1" fmla="*/ 0 h 3738009"/>
              <a:gd name="connsiteX2" fmla="*/ 2542137 w 2542221"/>
              <a:gd name="connsiteY2" fmla="*/ 507848 h 3738009"/>
              <a:gd name="connsiteX3" fmla="*/ 2540212 w 2542221"/>
              <a:gd name="connsiteY3" fmla="*/ 3738009 h 3738009"/>
              <a:gd name="connsiteX4" fmla="*/ 0 w 2542221"/>
              <a:gd name="connsiteY4" fmla="*/ 3738009 h 3738009"/>
              <a:gd name="connsiteX5" fmla="*/ 0 w 2542221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2221" h="3738009">
                <a:moveTo>
                  <a:pt x="0" y="7257"/>
                </a:moveTo>
                <a:lnTo>
                  <a:pt x="1903039" y="0"/>
                </a:lnTo>
                <a:lnTo>
                  <a:pt x="2542137" y="507848"/>
                </a:lnTo>
                <a:cubicBezTo>
                  <a:pt x="2542773" y="1579700"/>
                  <a:pt x="2539576" y="2666157"/>
                  <a:pt x="2540212" y="3738009"/>
                </a:cubicBez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788E78F-391A-2872-A824-09470CB9F5C7}"/>
              </a:ext>
            </a:extLst>
          </p:cNvPr>
          <p:cNvGrpSpPr/>
          <p:nvPr userDrawn="1"/>
        </p:nvGrpSpPr>
        <p:grpSpPr>
          <a:xfrm>
            <a:off x="1453024" y="5168747"/>
            <a:ext cx="1507346" cy="86513"/>
            <a:chOff x="1348801" y="4612172"/>
            <a:chExt cx="1507346" cy="86513"/>
          </a:xfrm>
        </p:grpSpPr>
        <p:sp>
          <p:nvSpPr>
            <p:cNvPr id="5" name="Graphic 15">
              <a:extLst>
                <a:ext uri="{FF2B5EF4-FFF2-40B4-BE49-F238E27FC236}">
                  <a16:creationId xmlns:a16="http://schemas.microsoft.com/office/drawing/2014/main" id="{6AC9CE43-ECA7-4539-595E-11ACC949D1D5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Graphic 15">
              <a:extLst>
                <a:ext uri="{FF2B5EF4-FFF2-40B4-BE49-F238E27FC236}">
                  <a16:creationId xmlns:a16="http://schemas.microsoft.com/office/drawing/2014/main" id="{6B91E0B8-6D48-BC63-C15C-F6F36F9C986F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15">
              <a:extLst>
                <a:ext uri="{FF2B5EF4-FFF2-40B4-BE49-F238E27FC236}">
                  <a16:creationId xmlns:a16="http://schemas.microsoft.com/office/drawing/2014/main" id="{469A8622-56D4-BC38-D33A-42D35922BA36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Graphic 15">
              <a:extLst>
                <a:ext uri="{FF2B5EF4-FFF2-40B4-BE49-F238E27FC236}">
                  <a16:creationId xmlns:a16="http://schemas.microsoft.com/office/drawing/2014/main" id="{2ED0C889-8E96-EC7C-0F13-9C2CC9087C1B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Graphic 15">
              <a:extLst>
                <a:ext uri="{FF2B5EF4-FFF2-40B4-BE49-F238E27FC236}">
                  <a16:creationId xmlns:a16="http://schemas.microsoft.com/office/drawing/2014/main" id="{614E1A0E-E499-65F0-7E97-A1484C041055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Graphic 15">
              <a:extLst>
                <a:ext uri="{FF2B5EF4-FFF2-40B4-BE49-F238E27FC236}">
                  <a16:creationId xmlns:a16="http://schemas.microsoft.com/office/drawing/2014/main" id="{D67203A2-DFB3-8712-E966-2D756F24453F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Graphic 15">
              <a:extLst>
                <a:ext uri="{FF2B5EF4-FFF2-40B4-BE49-F238E27FC236}">
                  <a16:creationId xmlns:a16="http://schemas.microsoft.com/office/drawing/2014/main" id="{0FE216A7-9E3D-3949-F43A-C1E248CEB363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5B6DDC-E17C-CBB2-EC7B-FA6CC1C4932C}"/>
              </a:ext>
            </a:extLst>
          </p:cNvPr>
          <p:cNvGrpSpPr/>
          <p:nvPr userDrawn="1"/>
        </p:nvGrpSpPr>
        <p:grpSpPr>
          <a:xfrm>
            <a:off x="7118860" y="5168747"/>
            <a:ext cx="1507346" cy="86513"/>
            <a:chOff x="1348801" y="4612172"/>
            <a:chExt cx="1507346" cy="86513"/>
          </a:xfrm>
        </p:grpSpPr>
        <p:sp>
          <p:nvSpPr>
            <p:cNvPr id="14" name="Graphic 15">
              <a:extLst>
                <a:ext uri="{FF2B5EF4-FFF2-40B4-BE49-F238E27FC236}">
                  <a16:creationId xmlns:a16="http://schemas.microsoft.com/office/drawing/2014/main" id="{0483CF11-261F-1F83-7A02-9CE3DB74FB30}"/>
                </a:ext>
              </a:extLst>
            </p:cNvPr>
            <p:cNvSpPr/>
            <p:nvPr userDrawn="1"/>
          </p:nvSpPr>
          <p:spPr>
            <a:xfrm>
              <a:off x="1348801" y="4612172"/>
              <a:ext cx="65603" cy="47636"/>
            </a:xfrm>
            <a:custGeom>
              <a:avLst/>
              <a:gdLst>
                <a:gd name="connsiteX0" fmla="*/ 78777 w 78776"/>
                <a:gd name="connsiteY0" fmla="*/ 57202 h 57201"/>
                <a:gd name="connsiteX1" fmla="*/ 0 w 78776"/>
                <a:gd name="connsiteY1" fmla="*/ 57202 h 57201"/>
                <a:gd name="connsiteX2" fmla="*/ 0 w 78776"/>
                <a:gd name="connsiteY2" fmla="*/ 0 h 57201"/>
                <a:gd name="connsiteX3" fmla="*/ 3839 w 78776"/>
                <a:gd name="connsiteY3" fmla="*/ 0 h 57201"/>
                <a:gd name="connsiteX4" fmla="*/ 3839 w 78776"/>
                <a:gd name="connsiteY4" fmla="*/ 53363 h 57201"/>
                <a:gd name="connsiteX5" fmla="*/ 78777 w 78776"/>
                <a:gd name="connsiteY5" fmla="*/ 53363 h 57201"/>
                <a:gd name="connsiteX6" fmla="*/ 78777 w 78776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76" h="57201">
                  <a:moveTo>
                    <a:pt x="78777" y="57202"/>
                  </a:moveTo>
                  <a:lnTo>
                    <a:pt x="0" y="57202"/>
                  </a:lnTo>
                  <a:lnTo>
                    <a:pt x="0" y="0"/>
                  </a:lnTo>
                  <a:lnTo>
                    <a:pt x="3839" y="0"/>
                  </a:lnTo>
                  <a:lnTo>
                    <a:pt x="3839" y="53363"/>
                  </a:lnTo>
                  <a:lnTo>
                    <a:pt x="78777" y="53363"/>
                  </a:lnTo>
                  <a:lnTo>
                    <a:pt x="78777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15">
              <a:extLst>
                <a:ext uri="{FF2B5EF4-FFF2-40B4-BE49-F238E27FC236}">
                  <a16:creationId xmlns:a16="http://schemas.microsoft.com/office/drawing/2014/main" id="{BED0FF39-2442-A513-C8FD-9BB9623B6D28}"/>
                </a:ext>
              </a:extLst>
            </p:cNvPr>
            <p:cNvSpPr/>
            <p:nvPr userDrawn="1"/>
          </p:nvSpPr>
          <p:spPr>
            <a:xfrm>
              <a:off x="1539474" y="4656676"/>
              <a:ext cx="1126321" cy="3197"/>
            </a:xfrm>
            <a:custGeom>
              <a:avLst/>
              <a:gdLst>
                <a:gd name="connsiteX0" fmla="*/ 1352013 w 1352491"/>
                <a:gd name="connsiteY0" fmla="*/ 2514 h 3839"/>
                <a:gd name="connsiteX1" fmla="*/ 1201369 w 1352491"/>
                <a:gd name="connsiteY1" fmla="*/ 2514 h 3839"/>
                <a:gd name="connsiteX2" fmla="*/ 1201369 w 1352491"/>
                <a:gd name="connsiteY2" fmla="*/ -1325 h 3839"/>
                <a:gd name="connsiteX3" fmla="*/ 1352013 w 1352491"/>
                <a:gd name="connsiteY3" fmla="*/ -1325 h 3839"/>
                <a:gd name="connsiteX4" fmla="*/ 1051570 w 1352491"/>
                <a:gd name="connsiteY4" fmla="*/ 2514 h 3839"/>
                <a:gd name="connsiteX5" fmla="*/ 900926 w 1352491"/>
                <a:gd name="connsiteY5" fmla="*/ 2514 h 3839"/>
                <a:gd name="connsiteX6" fmla="*/ 900926 w 1352491"/>
                <a:gd name="connsiteY6" fmla="*/ -1325 h 3839"/>
                <a:gd name="connsiteX7" fmla="*/ 1051186 w 1352491"/>
                <a:gd name="connsiteY7" fmla="*/ -1325 h 3839"/>
                <a:gd name="connsiteX8" fmla="*/ 751050 w 1352491"/>
                <a:gd name="connsiteY8" fmla="*/ 2514 h 3839"/>
                <a:gd name="connsiteX9" fmla="*/ 600484 w 1352491"/>
                <a:gd name="connsiteY9" fmla="*/ 2514 h 3839"/>
                <a:gd name="connsiteX10" fmla="*/ 600484 w 1352491"/>
                <a:gd name="connsiteY10" fmla="*/ -1325 h 3839"/>
                <a:gd name="connsiteX11" fmla="*/ 750666 w 1352491"/>
                <a:gd name="connsiteY11" fmla="*/ -1325 h 3839"/>
                <a:gd name="connsiteX12" fmla="*/ 450608 w 1352491"/>
                <a:gd name="connsiteY12" fmla="*/ 2514 h 3839"/>
                <a:gd name="connsiteX13" fmla="*/ 300118 w 1352491"/>
                <a:gd name="connsiteY13" fmla="*/ 2514 h 3839"/>
                <a:gd name="connsiteX14" fmla="*/ 300118 w 1352491"/>
                <a:gd name="connsiteY14" fmla="*/ -1325 h 3839"/>
                <a:gd name="connsiteX15" fmla="*/ 450377 w 1352491"/>
                <a:gd name="connsiteY15" fmla="*/ -1325 h 3839"/>
                <a:gd name="connsiteX16" fmla="*/ 150165 w 1352491"/>
                <a:gd name="connsiteY16" fmla="*/ 2514 h 3839"/>
                <a:gd name="connsiteX17" fmla="*/ -479 w 1352491"/>
                <a:gd name="connsiteY17" fmla="*/ 2514 h 3839"/>
                <a:gd name="connsiteX18" fmla="*/ -479 w 1352491"/>
                <a:gd name="connsiteY18" fmla="*/ -1325 h 3839"/>
                <a:gd name="connsiteX19" fmla="*/ 149781 w 1352491"/>
                <a:gd name="connsiteY19" fmla="*/ -1325 h 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52491" h="3839">
                  <a:moveTo>
                    <a:pt x="1352013" y="2514"/>
                  </a:moveTo>
                  <a:lnTo>
                    <a:pt x="1201369" y="2514"/>
                  </a:lnTo>
                  <a:lnTo>
                    <a:pt x="1201369" y="-1325"/>
                  </a:lnTo>
                  <a:lnTo>
                    <a:pt x="1352013" y="-1325"/>
                  </a:lnTo>
                  <a:close/>
                  <a:moveTo>
                    <a:pt x="1051570" y="2514"/>
                  </a:moveTo>
                  <a:lnTo>
                    <a:pt x="900926" y="2514"/>
                  </a:lnTo>
                  <a:lnTo>
                    <a:pt x="900926" y="-1325"/>
                  </a:lnTo>
                  <a:lnTo>
                    <a:pt x="1051186" y="-1325"/>
                  </a:lnTo>
                  <a:close/>
                  <a:moveTo>
                    <a:pt x="751050" y="2514"/>
                  </a:moveTo>
                  <a:lnTo>
                    <a:pt x="600484" y="2514"/>
                  </a:lnTo>
                  <a:lnTo>
                    <a:pt x="600484" y="-1325"/>
                  </a:lnTo>
                  <a:lnTo>
                    <a:pt x="750666" y="-1325"/>
                  </a:lnTo>
                  <a:close/>
                  <a:moveTo>
                    <a:pt x="450608" y="2514"/>
                  </a:moveTo>
                  <a:lnTo>
                    <a:pt x="300118" y="2514"/>
                  </a:lnTo>
                  <a:lnTo>
                    <a:pt x="300118" y="-1325"/>
                  </a:lnTo>
                  <a:lnTo>
                    <a:pt x="450377" y="-1325"/>
                  </a:lnTo>
                  <a:close/>
                  <a:moveTo>
                    <a:pt x="150165" y="2514"/>
                  </a:moveTo>
                  <a:lnTo>
                    <a:pt x="-479" y="2514"/>
                  </a:lnTo>
                  <a:lnTo>
                    <a:pt x="-479" y="-1325"/>
                  </a:lnTo>
                  <a:lnTo>
                    <a:pt x="149781" y="-1325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Graphic 15">
              <a:extLst>
                <a:ext uri="{FF2B5EF4-FFF2-40B4-BE49-F238E27FC236}">
                  <a16:creationId xmlns:a16="http://schemas.microsoft.com/office/drawing/2014/main" id="{9CE8F5D8-56C5-28F4-1FAE-19BC7DDC843B}"/>
                </a:ext>
              </a:extLst>
            </p:cNvPr>
            <p:cNvSpPr/>
            <p:nvPr userDrawn="1"/>
          </p:nvSpPr>
          <p:spPr>
            <a:xfrm>
              <a:off x="2790608" y="4612172"/>
              <a:ext cx="65539" cy="47636"/>
            </a:xfrm>
            <a:custGeom>
              <a:avLst/>
              <a:gdLst>
                <a:gd name="connsiteX0" fmla="*/ 78700 w 78700"/>
                <a:gd name="connsiteY0" fmla="*/ 57202 h 57201"/>
                <a:gd name="connsiteX1" fmla="*/ 0 w 78700"/>
                <a:gd name="connsiteY1" fmla="*/ 57202 h 57201"/>
                <a:gd name="connsiteX2" fmla="*/ 0 w 78700"/>
                <a:gd name="connsiteY2" fmla="*/ 53363 h 57201"/>
                <a:gd name="connsiteX3" fmla="*/ 74861 w 78700"/>
                <a:gd name="connsiteY3" fmla="*/ 53363 h 57201"/>
                <a:gd name="connsiteX4" fmla="*/ 74861 w 78700"/>
                <a:gd name="connsiteY4" fmla="*/ 0 h 57201"/>
                <a:gd name="connsiteX5" fmla="*/ 78700 w 78700"/>
                <a:gd name="connsiteY5" fmla="*/ 0 h 57201"/>
                <a:gd name="connsiteX6" fmla="*/ 78700 w 78700"/>
                <a:gd name="connsiteY6" fmla="*/ 57202 h 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00" h="57201">
                  <a:moveTo>
                    <a:pt x="78700" y="57202"/>
                  </a:moveTo>
                  <a:lnTo>
                    <a:pt x="0" y="57202"/>
                  </a:lnTo>
                  <a:lnTo>
                    <a:pt x="0" y="53363"/>
                  </a:lnTo>
                  <a:lnTo>
                    <a:pt x="74861" y="53363"/>
                  </a:lnTo>
                  <a:lnTo>
                    <a:pt x="74861" y="0"/>
                  </a:lnTo>
                  <a:lnTo>
                    <a:pt x="78700" y="0"/>
                  </a:lnTo>
                  <a:lnTo>
                    <a:pt x="78700" y="57202"/>
                  </a:lnTo>
                  <a:close/>
                </a:path>
              </a:pathLst>
            </a:custGeom>
            <a:solidFill>
              <a:srgbClr val="6FBF4A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Graphic 15">
              <a:extLst>
                <a:ext uri="{FF2B5EF4-FFF2-40B4-BE49-F238E27FC236}">
                  <a16:creationId xmlns:a16="http://schemas.microsoft.com/office/drawing/2014/main" id="{75B99CBF-7021-B4DA-1AEF-8D86F67CAB0D}"/>
                </a:ext>
              </a:extLst>
            </p:cNvPr>
            <p:cNvSpPr/>
            <p:nvPr userDrawn="1"/>
          </p:nvSpPr>
          <p:spPr>
            <a:xfrm>
              <a:off x="2851352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15">
              <a:extLst>
                <a:ext uri="{FF2B5EF4-FFF2-40B4-BE49-F238E27FC236}">
                  <a16:creationId xmlns:a16="http://schemas.microsoft.com/office/drawing/2014/main" id="{9CD290D6-9322-7705-E983-DFC12147DD90}"/>
                </a:ext>
              </a:extLst>
            </p:cNvPr>
            <p:cNvSpPr/>
            <p:nvPr userDrawn="1"/>
          </p:nvSpPr>
          <p:spPr>
            <a:xfrm>
              <a:off x="2212134" y="4692291"/>
              <a:ext cx="583206" cy="6394"/>
            </a:xfrm>
            <a:custGeom>
              <a:avLst/>
              <a:gdLst>
                <a:gd name="connsiteX0" fmla="*/ 699838 w 700316"/>
                <a:gd name="connsiteY0" fmla="*/ 6353 h 7678"/>
                <a:gd name="connsiteX1" fmla="*/ 694233 w 700316"/>
                <a:gd name="connsiteY1" fmla="*/ 6353 h 7678"/>
                <a:gd name="connsiteX2" fmla="*/ 694233 w 700316"/>
                <a:gd name="connsiteY2" fmla="*/ -1325 h 7678"/>
                <a:gd name="connsiteX3" fmla="*/ 699838 w 700316"/>
                <a:gd name="connsiteY3" fmla="*/ -1325 h 7678"/>
                <a:gd name="connsiteX4" fmla="*/ 5126 w 700316"/>
                <a:gd name="connsiteY4" fmla="*/ 6353 h 7678"/>
                <a:gd name="connsiteX5" fmla="*/ -479 w 700316"/>
                <a:gd name="connsiteY5" fmla="*/ 6353 h 7678"/>
                <a:gd name="connsiteX6" fmla="*/ -479 w 700316"/>
                <a:gd name="connsiteY6" fmla="*/ -1325 h 7678"/>
                <a:gd name="connsiteX7" fmla="*/ 5126 w 700316"/>
                <a:gd name="connsiteY7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0316" h="7678">
                  <a:moveTo>
                    <a:pt x="699838" y="6353"/>
                  </a:moveTo>
                  <a:lnTo>
                    <a:pt x="694233" y="6353"/>
                  </a:lnTo>
                  <a:lnTo>
                    <a:pt x="694233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15">
              <a:extLst>
                <a:ext uri="{FF2B5EF4-FFF2-40B4-BE49-F238E27FC236}">
                  <a16:creationId xmlns:a16="http://schemas.microsoft.com/office/drawing/2014/main" id="{FF24B634-9151-7ADE-7E1A-A5990EEC0D27}"/>
                </a:ext>
              </a:extLst>
            </p:cNvPr>
            <p:cNvSpPr/>
            <p:nvPr userDrawn="1"/>
          </p:nvSpPr>
          <p:spPr>
            <a:xfrm>
              <a:off x="1460955" y="4692291"/>
              <a:ext cx="643822" cy="6394"/>
            </a:xfrm>
            <a:custGeom>
              <a:avLst/>
              <a:gdLst>
                <a:gd name="connsiteX0" fmla="*/ 772626 w 773104"/>
                <a:gd name="connsiteY0" fmla="*/ 6353 h 7678"/>
                <a:gd name="connsiteX1" fmla="*/ 767097 w 773104"/>
                <a:gd name="connsiteY1" fmla="*/ 6353 h 7678"/>
                <a:gd name="connsiteX2" fmla="*/ 767097 w 773104"/>
                <a:gd name="connsiteY2" fmla="*/ -1325 h 7678"/>
                <a:gd name="connsiteX3" fmla="*/ 772626 w 773104"/>
                <a:gd name="connsiteY3" fmla="*/ -1325 h 7678"/>
                <a:gd name="connsiteX4" fmla="*/ 699838 w 773104"/>
                <a:gd name="connsiteY4" fmla="*/ 6353 h 7678"/>
                <a:gd name="connsiteX5" fmla="*/ 694232 w 773104"/>
                <a:gd name="connsiteY5" fmla="*/ 6353 h 7678"/>
                <a:gd name="connsiteX6" fmla="*/ 694232 w 773104"/>
                <a:gd name="connsiteY6" fmla="*/ -1325 h 7678"/>
                <a:gd name="connsiteX7" fmla="*/ 699838 w 773104"/>
                <a:gd name="connsiteY7" fmla="*/ -1325 h 7678"/>
                <a:gd name="connsiteX8" fmla="*/ 5126 w 773104"/>
                <a:gd name="connsiteY8" fmla="*/ 6353 h 7678"/>
                <a:gd name="connsiteX9" fmla="*/ -479 w 773104"/>
                <a:gd name="connsiteY9" fmla="*/ 6353 h 7678"/>
                <a:gd name="connsiteX10" fmla="*/ -479 w 773104"/>
                <a:gd name="connsiteY10" fmla="*/ -1325 h 7678"/>
                <a:gd name="connsiteX11" fmla="*/ 5126 w 773104"/>
                <a:gd name="connsiteY11" fmla="*/ -1325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3104" h="7678">
                  <a:moveTo>
                    <a:pt x="772626" y="6353"/>
                  </a:moveTo>
                  <a:lnTo>
                    <a:pt x="767097" y="6353"/>
                  </a:lnTo>
                  <a:lnTo>
                    <a:pt x="767097" y="-1325"/>
                  </a:lnTo>
                  <a:lnTo>
                    <a:pt x="772626" y="-1325"/>
                  </a:lnTo>
                  <a:close/>
                  <a:moveTo>
                    <a:pt x="699838" y="6353"/>
                  </a:moveTo>
                  <a:lnTo>
                    <a:pt x="694232" y="6353"/>
                  </a:lnTo>
                  <a:lnTo>
                    <a:pt x="694232" y="-1325"/>
                  </a:lnTo>
                  <a:lnTo>
                    <a:pt x="699838" y="-1325"/>
                  </a:lnTo>
                  <a:close/>
                  <a:moveTo>
                    <a:pt x="5126" y="6353"/>
                  </a:moveTo>
                  <a:lnTo>
                    <a:pt x="-479" y="6353"/>
                  </a:lnTo>
                  <a:lnTo>
                    <a:pt x="-479" y="-1325"/>
                  </a:lnTo>
                  <a:lnTo>
                    <a:pt x="5126" y="-1325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phic 15">
              <a:extLst>
                <a:ext uri="{FF2B5EF4-FFF2-40B4-BE49-F238E27FC236}">
                  <a16:creationId xmlns:a16="http://schemas.microsoft.com/office/drawing/2014/main" id="{54ADA6CE-B46A-6453-4B0D-3985E17AD453}"/>
                </a:ext>
              </a:extLst>
            </p:cNvPr>
            <p:cNvSpPr/>
            <p:nvPr userDrawn="1"/>
          </p:nvSpPr>
          <p:spPr>
            <a:xfrm>
              <a:off x="1350464" y="4692291"/>
              <a:ext cx="3197" cy="6394"/>
            </a:xfrm>
            <a:custGeom>
              <a:avLst/>
              <a:gdLst>
                <a:gd name="connsiteX0" fmla="*/ 0 w 3839"/>
                <a:gd name="connsiteY0" fmla="*/ 0 h 7678"/>
                <a:gd name="connsiteX1" fmla="*/ 3839 w 3839"/>
                <a:gd name="connsiteY1" fmla="*/ 0 h 7678"/>
                <a:gd name="connsiteX2" fmla="*/ 3839 w 3839"/>
                <a:gd name="connsiteY2" fmla="*/ 7678 h 7678"/>
                <a:gd name="connsiteX3" fmla="*/ 0 w 3839"/>
                <a:gd name="connsiteY3" fmla="*/ 7678 h 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9" h="7678">
                  <a:moveTo>
                    <a:pt x="0" y="0"/>
                  </a:moveTo>
                  <a:lnTo>
                    <a:pt x="3839" y="0"/>
                  </a:lnTo>
                  <a:lnTo>
                    <a:pt x="3839" y="7678"/>
                  </a:lnTo>
                  <a:lnTo>
                    <a:pt x="0" y="7678"/>
                  </a:lnTo>
                  <a:close/>
                </a:path>
              </a:pathLst>
            </a:custGeom>
            <a:solidFill>
              <a:srgbClr val="BCBCBC"/>
            </a:solidFill>
            <a:ln w="7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118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781CAE9-246A-D5F3-2230-C3789E54D8FB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9715225" y="6267123"/>
            <a:ext cx="2476774" cy="290423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532100C-0D80-F191-9F98-2D5FF811A97F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44A9CC0-3E51-FC78-278A-5B906F2005AE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066D8AE-DC07-7BF3-E891-5B89628BA9C9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88A277B-5E74-EB8B-8881-3986B9272CC3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B3518B4-B832-4478-7E53-D177D7C37B30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242CC0B-0D04-4FA5-62F4-AC00C965B2E8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17FD557-D688-1519-F0F8-AE3A1101F5CB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5C878B5-4C14-BF1C-8300-270CBC50C5A0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3F73933-A44F-0423-BA7C-EEF42F9895A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669C3DC-4FDD-B99A-34FF-F8C59CCFE6B5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D12A713-86A1-E10F-4CCE-1BFC3A1791CD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BD21ABB-76FB-F938-E849-305D6DE8EA44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1ABE2CD-D4A5-4632-98C8-8BF8ACCBE5E8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D63E44C-F0B1-312E-583F-8A1042C53A13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66886F-2246-3954-6D03-CF7C7B65C7F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2C39396C-5371-C1ED-5F2B-1989DBA0F65D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6" name="Text Placeholder 121">
            <a:extLst>
              <a:ext uri="{FF2B5EF4-FFF2-40B4-BE49-F238E27FC236}">
                <a16:creationId xmlns:a16="http://schemas.microsoft.com/office/drawing/2014/main" id="{F7028D01-CCC3-ED43-C8A7-0BFD5B8F70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45279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6D84BE05-E7C0-263D-048F-9BC8FC55A7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30835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49" name="Text Placeholder 85">
            <a:extLst>
              <a:ext uri="{FF2B5EF4-FFF2-40B4-BE49-F238E27FC236}">
                <a16:creationId xmlns:a16="http://schemas.microsoft.com/office/drawing/2014/main" id="{CC0E520E-5BE8-F74F-C41B-1DE41DEEBB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8046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150" name="Text Placeholder 121">
            <a:extLst>
              <a:ext uri="{FF2B5EF4-FFF2-40B4-BE49-F238E27FC236}">
                <a16:creationId xmlns:a16="http://schemas.microsoft.com/office/drawing/2014/main" id="{72E4B713-7A71-902B-A145-ABFF20FEA5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0762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152" name="Text Placeholder 3">
            <a:extLst>
              <a:ext uri="{FF2B5EF4-FFF2-40B4-BE49-F238E27FC236}">
                <a16:creationId xmlns:a16="http://schemas.microsoft.com/office/drawing/2014/main" id="{3E6ECE56-D527-B0B8-1893-C0C6616086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05145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53" name="Text Placeholder 85">
            <a:extLst>
              <a:ext uri="{FF2B5EF4-FFF2-40B4-BE49-F238E27FC236}">
                <a16:creationId xmlns:a16="http://schemas.microsoft.com/office/drawing/2014/main" id="{53CD850B-AF0B-6139-F77D-67299CA1602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5477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154" name="Text Placeholder 121">
            <a:extLst>
              <a:ext uri="{FF2B5EF4-FFF2-40B4-BE49-F238E27FC236}">
                <a16:creationId xmlns:a16="http://schemas.microsoft.com/office/drawing/2014/main" id="{A60F3F3C-B8D8-FDF8-8653-1A2B63A76EC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193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3CC20B70-03C6-7E00-A37E-191CEE622708}"/>
              </a:ext>
            </a:extLst>
          </p:cNvPr>
          <p:cNvCxnSpPr>
            <a:cxnSpLocks/>
          </p:cNvCxnSpPr>
          <p:nvPr userDrawn="1"/>
        </p:nvCxnSpPr>
        <p:spPr>
          <a:xfrm>
            <a:off x="4546044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F1396E96-8BB9-B9DC-3D66-40F2D9362F22}"/>
              </a:ext>
            </a:extLst>
          </p:cNvPr>
          <p:cNvCxnSpPr>
            <a:cxnSpLocks/>
          </p:cNvCxnSpPr>
          <p:nvPr userDrawn="1"/>
        </p:nvCxnSpPr>
        <p:spPr>
          <a:xfrm>
            <a:off x="742726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7" name="Graphic 226">
            <a:extLst>
              <a:ext uri="{FF2B5EF4-FFF2-40B4-BE49-F238E27FC236}">
                <a16:creationId xmlns:a16="http://schemas.microsoft.com/office/drawing/2014/main" id="{CDF8E2AC-3B94-E084-63BF-9A8E71AEE5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97105" y="1629322"/>
            <a:ext cx="864114" cy="698204"/>
          </a:xfrm>
          <a:prstGeom prst="rect">
            <a:avLst/>
          </a:prstGeom>
        </p:spPr>
      </p:pic>
      <p:pic>
        <p:nvPicPr>
          <p:cNvPr id="228" name="Picture 227">
            <a:extLst>
              <a:ext uri="{FF2B5EF4-FFF2-40B4-BE49-F238E27FC236}">
                <a16:creationId xmlns:a16="http://schemas.microsoft.com/office/drawing/2014/main" id="{D2E96604-C1D1-883F-56AA-F57B29FAD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5290"/>
          <a:stretch/>
        </p:blipFill>
        <p:spPr>
          <a:xfrm>
            <a:off x="9782766" y="2876468"/>
            <a:ext cx="2414016" cy="297510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067ECFB-D489-ECF1-F65E-EF4C5026658C}"/>
              </a:ext>
            </a:extLst>
          </p:cNvPr>
          <p:cNvSpPr>
            <a:spLocks noGrp="1"/>
          </p:cNvSpPr>
          <p:nvPr>
            <p:ph type="pic" idx="34" hasCustomPrompt="1"/>
          </p:nvPr>
        </p:nvSpPr>
        <p:spPr>
          <a:xfrm>
            <a:off x="87513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974686A-FF9B-ED41-7232-8A2EE3272EA2}"/>
              </a:ext>
            </a:extLst>
          </p:cNvPr>
          <p:cNvCxnSpPr>
            <a:cxnSpLocks/>
          </p:cNvCxnSpPr>
          <p:nvPr userDrawn="1"/>
        </p:nvCxnSpPr>
        <p:spPr>
          <a:xfrm>
            <a:off x="408680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900F2936-812A-E8B4-833E-E8BA1DF27BA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68491" y="4814264"/>
            <a:ext cx="2103120" cy="276999"/>
          </a:xfrm>
        </p:spPr>
        <p:txBody>
          <a:bodyPr vert="horz" lIns="0" tIns="0" rIns="0" bIns="0" rtlCol="0" anchor="ctr" anchorCtr="0">
            <a:normAutofit/>
          </a:bodyPr>
          <a:lstStyle>
            <a:lvl1pPr marL="342900" indent="-342900" algn="ctr">
              <a:spcBef>
                <a:spcPts val="0"/>
              </a:spcBef>
              <a:buFontTx/>
              <a:buNone/>
              <a:defRPr lang="en-US" sz="1900" b="1" cap="all" baseline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NAME</a:t>
            </a:r>
          </a:p>
        </p:txBody>
      </p:sp>
      <p:sp>
        <p:nvSpPr>
          <p:cNvPr id="145" name="Text Placeholder 85">
            <a:extLst>
              <a:ext uri="{FF2B5EF4-FFF2-40B4-BE49-F238E27FC236}">
                <a16:creationId xmlns:a16="http://schemas.microsoft.com/office/drawing/2014/main" id="{18A80C11-47DF-D917-1664-E12B5586EF29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18123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FB7D787D-C2A9-6FFB-7DB6-62DD2D2DB1C3}"/>
              </a:ext>
            </a:extLst>
          </p:cNvPr>
          <p:cNvCxnSpPr>
            <a:cxnSpLocks/>
          </p:cNvCxnSpPr>
          <p:nvPr userDrawn="1"/>
        </p:nvCxnSpPr>
        <p:spPr>
          <a:xfrm>
            <a:off x="168181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5D52EC0-6CF5-C533-629A-0C523A0E0437}"/>
              </a:ext>
            </a:extLst>
          </p:cNvPr>
          <p:cNvGrpSpPr/>
          <p:nvPr userDrawn="1"/>
        </p:nvGrpSpPr>
        <p:grpSpPr>
          <a:xfrm>
            <a:off x="862265" y="1612232"/>
            <a:ext cx="2338382" cy="4162926"/>
            <a:chOff x="862265" y="1612232"/>
            <a:chExt cx="2338382" cy="4162926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24AE547-2440-CF54-D3B6-12ECA1070099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158" name="Graphic 42">
                <a:extLst>
                  <a:ext uri="{FF2B5EF4-FFF2-40B4-BE49-F238E27FC236}">
                    <a16:creationId xmlns:a16="http://schemas.microsoft.com/office/drawing/2014/main" id="{554D41A6-5A7A-E25D-DB98-9128F19213E8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167" name="Freeform: Shape 33">
                  <a:extLst>
                    <a:ext uri="{FF2B5EF4-FFF2-40B4-BE49-F238E27FC236}">
                      <a16:creationId xmlns:a16="http://schemas.microsoft.com/office/drawing/2014/main" id="{83F4E118-9E0A-38BE-1944-154B6E3E47D0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34">
                  <a:extLst>
                    <a:ext uri="{FF2B5EF4-FFF2-40B4-BE49-F238E27FC236}">
                      <a16:creationId xmlns:a16="http://schemas.microsoft.com/office/drawing/2014/main" id="{91A85E24-0A28-0D2E-2951-7D9347D69111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35">
                  <a:extLst>
                    <a:ext uri="{FF2B5EF4-FFF2-40B4-BE49-F238E27FC236}">
                      <a16:creationId xmlns:a16="http://schemas.microsoft.com/office/drawing/2014/main" id="{0399CF66-C8E4-E4C7-44D8-B27D7EA11C1D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: Shape 36">
                  <a:extLst>
                    <a:ext uri="{FF2B5EF4-FFF2-40B4-BE49-F238E27FC236}">
                      <a16:creationId xmlns:a16="http://schemas.microsoft.com/office/drawing/2014/main" id="{903B4043-A469-449F-4AD2-D49C54430C40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: Shape 37">
                  <a:extLst>
                    <a:ext uri="{FF2B5EF4-FFF2-40B4-BE49-F238E27FC236}">
                      <a16:creationId xmlns:a16="http://schemas.microsoft.com/office/drawing/2014/main" id="{569EC27E-06FD-405F-51CC-E8F697B3E96E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: Shape 38">
                  <a:extLst>
                    <a:ext uri="{FF2B5EF4-FFF2-40B4-BE49-F238E27FC236}">
                      <a16:creationId xmlns:a16="http://schemas.microsoft.com/office/drawing/2014/main" id="{655BCDD9-F445-6058-1A38-AC4D5753DEDA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: Shape 39">
                  <a:extLst>
                    <a:ext uri="{FF2B5EF4-FFF2-40B4-BE49-F238E27FC236}">
                      <a16:creationId xmlns:a16="http://schemas.microsoft.com/office/drawing/2014/main" id="{505DB1D1-1A8E-380A-68F7-C804479C6067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: Shape 40">
                  <a:extLst>
                    <a:ext uri="{FF2B5EF4-FFF2-40B4-BE49-F238E27FC236}">
                      <a16:creationId xmlns:a16="http://schemas.microsoft.com/office/drawing/2014/main" id="{CA531091-EBE8-2C0D-8EE5-E58A7C83F08A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: Shape 41">
                  <a:extLst>
                    <a:ext uri="{FF2B5EF4-FFF2-40B4-BE49-F238E27FC236}">
                      <a16:creationId xmlns:a16="http://schemas.microsoft.com/office/drawing/2014/main" id="{0F1467BC-784E-84EB-20AD-E8DEDDF258F4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: Shape 42">
                  <a:extLst>
                    <a:ext uri="{FF2B5EF4-FFF2-40B4-BE49-F238E27FC236}">
                      <a16:creationId xmlns:a16="http://schemas.microsoft.com/office/drawing/2014/main" id="{2F3BF4B2-90A4-9B07-1A02-4CF1ACE7894E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: Shape 43">
                  <a:extLst>
                    <a:ext uri="{FF2B5EF4-FFF2-40B4-BE49-F238E27FC236}">
                      <a16:creationId xmlns:a16="http://schemas.microsoft.com/office/drawing/2014/main" id="{F5DD43A0-B729-B26B-A45D-5FFD23868D64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: Shape 44">
                  <a:extLst>
                    <a:ext uri="{FF2B5EF4-FFF2-40B4-BE49-F238E27FC236}">
                      <a16:creationId xmlns:a16="http://schemas.microsoft.com/office/drawing/2014/main" id="{22776CB9-7D6C-F082-DCED-1AAD3028B7B6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: Shape 45">
                  <a:extLst>
                    <a:ext uri="{FF2B5EF4-FFF2-40B4-BE49-F238E27FC236}">
                      <a16:creationId xmlns:a16="http://schemas.microsoft.com/office/drawing/2014/main" id="{4CA51076-AC10-D205-4B11-C74286956603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: Shape 46">
                  <a:extLst>
                    <a:ext uri="{FF2B5EF4-FFF2-40B4-BE49-F238E27FC236}">
                      <a16:creationId xmlns:a16="http://schemas.microsoft.com/office/drawing/2014/main" id="{0AB37F7E-8C94-03F0-D36E-8526B4D80E9A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: Shape 47">
                  <a:extLst>
                    <a:ext uri="{FF2B5EF4-FFF2-40B4-BE49-F238E27FC236}">
                      <a16:creationId xmlns:a16="http://schemas.microsoft.com/office/drawing/2014/main" id="{300C028B-6F12-4E71-CE6D-369775495C90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: Shape 48">
                  <a:extLst>
                    <a:ext uri="{FF2B5EF4-FFF2-40B4-BE49-F238E27FC236}">
                      <a16:creationId xmlns:a16="http://schemas.microsoft.com/office/drawing/2014/main" id="{11530266-1119-CB42-D298-2CD7DAC86EC4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: Shape 49">
                  <a:extLst>
                    <a:ext uri="{FF2B5EF4-FFF2-40B4-BE49-F238E27FC236}">
                      <a16:creationId xmlns:a16="http://schemas.microsoft.com/office/drawing/2014/main" id="{AB6B6D94-378B-73A2-670F-17E7AA905679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: Shape 50">
                  <a:extLst>
                    <a:ext uri="{FF2B5EF4-FFF2-40B4-BE49-F238E27FC236}">
                      <a16:creationId xmlns:a16="http://schemas.microsoft.com/office/drawing/2014/main" id="{6CD5528C-8CC5-D9FC-E0A5-83EDEAA841D0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: Shape 51">
                  <a:extLst>
                    <a:ext uri="{FF2B5EF4-FFF2-40B4-BE49-F238E27FC236}">
                      <a16:creationId xmlns:a16="http://schemas.microsoft.com/office/drawing/2014/main" id="{45B59707-84D1-F53F-2625-D04A5BB9090A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: Shape 52">
                  <a:extLst>
                    <a:ext uri="{FF2B5EF4-FFF2-40B4-BE49-F238E27FC236}">
                      <a16:creationId xmlns:a16="http://schemas.microsoft.com/office/drawing/2014/main" id="{A59F7389-81A0-BCB0-AE0C-6BC82F77B484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3D493A44-CDEA-8098-D9A8-11314348C667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160" name="Freeform: Shape 26">
                  <a:extLst>
                    <a:ext uri="{FF2B5EF4-FFF2-40B4-BE49-F238E27FC236}">
                      <a16:creationId xmlns:a16="http://schemas.microsoft.com/office/drawing/2014/main" id="{5ECF910E-AA7B-B711-092F-925FA315EB72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27">
                  <a:extLst>
                    <a:ext uri="{FF2B5EF4-FFF2-40B4-BE49-F238E27FC236}">
                      <a16:creationId xmlns:a16="http://schemas.microsoft.com/office/drawing/2014/main" id="{1331BBD7-D8C4-9E35-4A30-63ACDEF73CD1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28">
                  <a:extLst>
                    <a:ext uri="{FF2B5EF4-FFF2-40B4-BE49-F238E27FC236}">
                      <a16:creationId xmlns:a16="http://schemas.microsoft.com/office/drawing/2014/main" id="{218E55AB-641E-F037-0254-BD1182A47048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: Shape 29">
                  <a:extLst>
                    <a:ext uri="{FF2B5EF4-FFF2-40B4-BE49-F238E27FC236}">
                      <a16:creationId xmlns:a16="http://schemas.microsoft.com/office/drawing/2014/main" id="{02C3BA52-27E7-838D-F672-A7C937E6AAC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30">
                  <a:extLst>
                    <a:ext uri="{FF2B5EF4-FFF2-40B4-BE49-F238E27FC236}">
                      <a16:creationId xmlns:a16="http://schemas.microsoft.com/office/drawing/2014/main" id="{65AF750C-86D6-41B1-0583-0A578A8E2116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31">
                  <a:extLst>
                    <a:ext uri="{FF2B5EF4-FFF2-40B4-BE49-F238E27FC236}">
                      <a16:creationId xmlns:a16="http://schemas.microsoft.com/office/drawing/2014/main" id="{BD28D215-B44F-6DF5-1261-6B60F25E3229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: Shape 32">
                  <a:extLst>
                    <a:ext uri="{FF2B5EF4-FFF2-40B4-BE49-F238E27FC236}">
                      <a16:creationId xmlns:a16="http://schemas.microsoft.com/office/drawing/2014/main" id="{D8BEF40A-E0B2-BE7D-2DFE-4A8EF6905FF6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7AF4D4E5-8D7F-5096-CA92-F9D5C6C9D7AC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2B0F692-D51B-6939-D49B-BD7ABCBECA6E}"/>
              </a:ext>
            </a:extLst>
          </p:cNvPr>
          <p:cNvCxnSpPr>
            <a:cxnSpLocks/>
          </p:cNvCxnSpPr>
          <p:nvPr userDrawn="1"/>
        </p:nvCxnSpPr>
        <p:spPr>
          <a:xfrm>
            <a:off x="864207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202BF986-E261-306E-D684-B1AD206947D6}"/>
              </a:ext>
            </a:extLst>
          </p:cNvPr>
          <p:cNvSpPr>
            <a:spLocks noGrp="1"/>
          </p:cNvSpPr>
          <p:nvPr>
            <p:ph type="pic" idx="35" hasCustomPrompt="1"/>
          </p:nvPr>
        </p:nvSpPr>
        <p:spPr>
          <a:xfrm>
            <a:off x="3745717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8CA6A11-9D6D-A986-B065-970346E4573E}"/>
              </a:ext>
            </a:extLst>
          </p:cNvPr>
          <p:cNvGrpSpPr/>
          <p:nvPr userDrawn="1"/>
        </p:nvGrpSpPr>
        <p:grpSpPr>
          <a:xfrm>
            <a:off x="3732852" y="1612232"/>
            <a:ext cx="2338382" cy="4162926"/>
            <a:chOff x="862265" y="1612232"/>
            <a:chExt cx="2338382" cy="4162926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D86D3E2-F499-4743-D89E-63C7F8C278C9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49" name="Graphic 42">
                <a:extLst>
                  <a:ext uri="{FF2B5EF4-FFF2-40B4-BE49-F238E27FC236}">
                    <a16:creationId xmlns:a16="http://schemas.microsoft.com/office/drawing/2014/main" id="{4706BBD7-5E58-F3D5-D908-BE03DFB37444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90" name="Freeform: Shape 33">
                  <a:extLst>
                    <a:ext uri="{FF2B5EF4-FFF2-40B4-BE49-F238E27FC236}">
                      <a16:creationId xmlns:a16="http://schemas.microsoft.com/office/drawing/2014/main" id="{04AFF83B-DC21-8E6F-99E0-EF368DB8315E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: Shape 34">
                  <a:extLst>
                    <a:ext uri="{FF2B5EF4-FFF2-40B4-BE49-F238E27FC236}">
                      <a16:creationId xmlns:a16="http://schemas.microsoft.com/office/drawing/2014/main" id="{F78AFB3F-D08C-B51C-93BC-D1B405273C9A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35">
                  <a:extLst>
                    <a:ext uri="{FF2B5EF4-FFF2-40B4-BE49-F238E27FC236}">
                      <a16:creationId xmlns:a16="http://schemas.microsoft.com/office/drawing/2014/main" id="{CA0B00BD-91FA-E780-AA17-486DD4E51761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: Shape 36">
                  <a:extLst>
                    <a:ext uri="{FF2B5EF4-FFF2-40B4-BE49-F238E27FC236}">
                      <a16:creationId xmlns:a16="http://schemas.microsoft.com/office/drawing/2014/main" id="{17914F26-58CF-3210-CEA9-94CCCEAA2AA7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37">
                  <a:extLst>
                    <a:ext uri="{FF2B5EF4-FFF2-40B4-BE49-F238E27FC236}">
                      <a16:creationId xmlns:a16="http://schemas.microsoft.com/office/drawing/2014/main" id="{5CEFF1E6-0CEA-CFD7-1E83-186C94BFC7F6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38">
                  <a:extLst>
                    <a:ext uri="{FF2B5EF4-FFF2-40B4-BE49-F238E27FC236}">
                      <a16:creationId xmlns:a16="http://schemas.microsoft.com/office/drawing/2014/main" id="{79531B51-6BAD-110E-5578-E9C9924C1916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: Shape 39">
                  <a:extLst>
                    <a:ext uri="{FF2B5EF4-FFF2-40B4-BE49-F238E27FC236}">
                      <a16:creationId xmlns:a16="http://schemas.microsoft.com/office/drawing/2014/main" id="{95B45C6C-27F2-AD69-1BE4-43CDD9DFB1EF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: Shape 40">
                  <a:extLst>
                    <a:ext uri="{FF2B5EF4-FFF2-40B4-BE49-F238E27FC236}">
                      <a16:creationId xmlns:a16="http://schemas.microsoft.com/office/drawing/2014/main" id="{DAF7EAB0-94AA-2F53-8AAD-E9B956DE5C5D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: Shape 41">
                  <a:extLst>
                    <a:ext uri="{FF2B5EF4-FFF2-40B4-BE49-F238E27FC236}">
                      <a16:creationId xmlns:a16="http://schemas.microsoft.com/office/drawing/2014/main" id="{0465FE23-155B-DDCF-EF83-9F7BDEA78A83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: Shape 42">
                  <a:extLst>
                    <a:ext uri="{FF2B5EF4-FFF2-40B4-BE49-F238E27FC236}">
                      <a16:creationId xmlns:a16="http://schemas.microsoft.com/office/drawing/2014/main" id="{A026197E-817F-584F-38E6-706796CA7372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: Shape 43">
                  <a:extLst>
                    <a:ext uri="{FF2B5EF4-FFF2-40B4-BE49-F238E27FC236}">
                      <a16:creationId xmlns:a16="http://schemas.microsoft.com/office/drawing/2014/main" id="{F154105D-0C41-B993-3831-4980F4AF5896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: Shape 44">
                  <a:extLst>
                    <a:ext uri="{FF2B5EF4-FFF2-40B4-BE49-F238E27FC236}">
                      <a16:creationId xmlns:a16="http://schemas.microsoft.com/office/drawing/2014/main" id="{01548E2E-0911-1706-6B05-379E915C23AC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: Shape 45">
                  <a:extLst>
                    <a:ext uri="{FF2B5EF4-FFF2-40B4-BE49-F238E27FC236}">
                      <a16:creationId xmlns:a16="http://schemas.microsoft.com/office/drawing/2014/main" id="{FC1B0BA4-B1D3-75B1-4637-D8557ADF3F7F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46">
                  <a:extLst>
                    <a:ext uri="{FF2B5EF4-FFF2-40B4-BE49-F238E27FC236}">
                      <a16:creationId xmlns:a16="http://schemas.microsoft.com/office/drawing/2014/main" id="{030BED82-B336-1625-D0D4-34DA8946AC5B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47">
                  <a:extLst>
                    <a:ext uri="{FF2B5EF4-FFF2-40B4-BE49-F238E27FC236}">
                      <a16:creationId xmlns:a16="http://schemas.microsoft.com/office/drawing/2014/main" id="{68A231F1-A6B3-B72B-18D3-2DF2E336B9F1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48">
                  <a:extLst>
                    <a:ext uri="{FF2B5EF4-FFF2-40B4-BE49-F238E27FC236}">
                      <a16:creationId xmlns:a16="http://schemas.microsoft.com/office/drawing/2014/main" id="{25EB81B2-DA3B-352C-2F2B-19C899D1B9D4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49">
                  <a:extLst>
                    <a:ext uri="{FF2B5EF4-FFF2-40B4-BE49-F238E27FC236}">
                      <a16:creationId xmlns:a16="http://schemas.microsoft.com/office/drawing/2014/main" id="{C404B19F-E409-9C87-25A1-C4AADA3D241F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50">
                  <a:extLst>
                    <a:ext uri="{FF2B5EF4-FFF2-40B4-BE49-F238E27FC236}">
                      <a16:creationId xmlns:a16="http://schemas.microsoft.com/office/drawing/2014/main" id="{AEDD47F6-DC66-7B17-706A-A61A1F472B31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51">
                  <a:extLst>
                    <a:ext uri="{FF2B5EF4-FFF2-40B4-BE49-F238E27FC236}">
                      <a16:creationId xmlns:a16="http://schemas.microsoft.com/office/drawing/2014/main" id="{68BC8E28-25A7-5EAE-C559-012658F02BCB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52">
                  <a:extLst>
                    <a:ext uri="{FF2B5EF4-FFF2-40B4-BE49-F238E27FC236}">
                      <a16:creationId xmlns:a16="http://schemas.microsoft.com/office/drawing/2014/main" id="{B3FD0390-09D8-2767-142F-FE2273951E5E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5EF63873-FCBB-00E4-A5B0-BF3CDE6B2AC4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51" name="Freeform: Shape 26">
                  <a:extLst>
                    <a:ext uri="{FF2B5EF4-FFF2-40B4-BE49-F238E27FC236}">
                      <a16:creationId xmlns:a16="http://schemas.microsoft.com/office/drawing/2014/main" id="{52270F2A-4529-BA6C-9070-CAB26D9A9B35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: Shape 27">
                  <a:extLst>
                    <a:ext uri="{FF2B5EF4-FFF2-40B4-BE49-F238E27FC236}">
                      <a16:creationId xmlns:a16="http://schemas.microsoft.com/office/drawing/2014/main" id="{1209BC0B-8A3E-EA05-8BB1-5727BB103E39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: Shape 28">
                  <a:extLst>
                    <a:ext uri="{FF2B5EF4-FFF2-40B4-BE49-F238E27FC236}">
                      <a16:creationId xmlns:a16="http://schemas.microsoft.com/office/drawing/2014/main" id="{C4CE3C9F-955A-F09C-9EB1-2D7540D30C90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: Shape 29">
                  <a:extLst>
                    <a:ext uri="{FF2B5EF4-FFF2-40B4-BE49-F238E27FC236}">
                      <a16:creationId xmlns:a16="http://schemas.microsoft.com/office/drawing/2014/main" id="{CC01E2AE-A4D6-5299-8237-E1EE93E2F2E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: Shape 30">
                  <a:extLst>
                    <a:ext uri="{FF2B5EF4-FFF2-40B4-BE49-F238E27FC236}">
                      <a16:creationId xmlns:a16="http://schemas.microsoft.com/office/drawing/2014/main" id="{804441B1-BE00-803C-BBBB-CE752C92E468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: Shape 31">
                  <a:extLst>
                    <a:ext uri="{FF2B5EF4-FFF2-40B4-BE49-F238E27FC236}">
                      <a16:creationId xmlns:a16="http://schemas.microsoft.com/office/drawing/2014/main" id="{7E78F71A-0B1B-F77C-A39D-E67D9F1C71A9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: Shape 32">
                  <a:extLst>
                    <a:ext uri="{FF2B5EF4-FFF2-40B4-BE49-F238E27FC236}">
                      <a16:creationId xmlns:a16="http://schemas.microsoft.com/office/drawing/2014/main" id="{C276F8FA-127D-7C97-0A5B-244C8EB9B15E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D940A35C-129D-AC1D-06B8-94A9ABC6B643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110" name="Picture Placeholder 2">
            <a:extLst>
              <a:ext uri="{FF2B5EF4-FFF2-40B4-BE49-F238E27FC236}">
                <a16:creationId xmlns:a16="http://schemas.microsoft.com/office/drawing/2014/main" id="{F4985857-A91C-2005-EE29-52FE2D9CC205}"/>
              </a:ext>
            </a:extLst>
          </p:cNvPr>
          <p:cNvSpPr>
            <a:spLocks noGrp="1"/>
          </p:cNvSpPr>
          <p:nvPr>
            <p:ph type="pic" idx="36" hasCustomPrompt="1"/>
          </p:nvPr>
        </p:nvSpPr>
        <p:spPr>
          <a:xfrm>
            <a:off x="6616304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FB3FD4A-4C54-C4F7-B24D-8408671CF496}"/>
              </a:ext>
            </a:extLst>
          </p:cNvPr>
          <p:cNvGrpSpPr/>
          <p:nvPr userDrawn="1"/>
        </p:nvGrpSpPr>
        <p:grpSpPr>
          <a:xfrm>
            <a:off x="6603439" y="1612232"/>
            <a:ext cx="2338382" cy="4162926"/>
            <a:chOff x="862265" y="1612232"/>
            <a:chExt cx="2338382" cy="4162926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FAD2F600-28B9-FD96-C29E-B7F3C23D91FC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114" name="Graphic 42">
                <a:extLst>
                  <a:ext uri="{FF2B5EF4-FFF2-40B4-BE49-F238E27FC236}">
                    <a16:creationId xmlns:a16="http://schemas.microsoft.com/office/drawing/2014/main" id="{B73346E7-ACA5-CBCC-FA96-1ADEEE7E7343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226" name="Freeform: Shape 33">
                  <a:extLst>
                    <a:ext uri="{FF2B5EF4-FFF2-40B4-BE49-F238E27FC236}">
                      <a16:creationId xmlns:a16="http://schemas.microsoft.com/office/drawing/2014/main" id="{5499E6B3-D79C-B99C-2AE1-FBFD9B43B7AB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34">
                  <a:extLst>
                    <a:ext uri="{FF2B5EF4-FFF2-40B4-BE49-F238E27FC236}">
                      <a16:creationId xmlns:a16="http://schemas.microsoft.com/office/drawing/2014/main" id="{C969764A-6833-A861-4E11-CFF1D1BD60B0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35">
                  <a:extLst>
                    <a:ext uri="{FF2B5EF4-FFF2-40B4-BE49-F238E27FC236}">
                      <a16:creationId xmlns:a16="http://schemas.microsoft.com/office/drawing/2014/main" id="{330E334D-CBF9-52C4-40E4-AB68B1331F77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reeform: Shape 36">
                  <a:extLst>
                    <a:ext uri="{FF2B5EF4-FFF2-40B4-BE49-F238E27FC236}">
                      <a16:creationId xmlns:a16="http://schemas.microsoft.com/office/drawing/2014/main" id="{C0D7440C-3C15-9CEA-D5C8-70C5BF252257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: Shape 37">
                  <a:extLst>
                    <a:ext uri="{FF2B5EF4-FFF2-40B4-BE49-F238E27FC236}">
                      <a16:creationId xmlns:a16="http://schemas.microsoft.com/office/drawing/2014/main" id="{0A370660-5CD6-1913-CC93-9BD4A9C0BEBC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Freeform: Shape 38">
                  <a:extLst>
                    <a:ext uri="{FF2B5EF4-FFF2-40B4-BE49-F238E27FC236}">
                      <a16:creationId xmlns:a16="http://schemas.microsoft.com/office/drawing/2014/main" id="{BB32D619-A8EE-1C4D-3AC2-40B4BAB78A27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: Shape 39">
                  <a:extLst>
                    <a:ext uri="{FF2B5EF4-FFF2-40B4-BE49-F238E27FC236}">
                      <a16:creationId xmlns:a16="http://schemas.microsoft.com/office/drawing/2014/main" id="{F0C2C159-2300-CF84-E5A8-2538F5BC3A05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: Shape 40">
                  <a:extLst>
                    <a:ext uri="{FF2B5EF4-FFF2-40B4-BE49-F238E27FC236}">
                      <a16:creationId xmlns:a16="http://schemas.microsoft.com/office/drawing/2014/main" id="{D1DA9166-BD19-025A-6B21-56B356B18964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reeform: Shape 41">
                  <a:extLst>
                    <a:ext uri="{FF2B5EF4-FFF2-40B4-BE49-F238E27FC236}">
                      <a16:creationId xmlns:a16="http://schemas.microsoft.com/office/drawing/2014/main" id="{00982609-7EAF-6C5D-6F2A-AF98BC24E1D0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: Shape 42">
                  <a:extLst>
                    <a:ext uri="{FF2B5EF4-FFF2-40B4-BE49-F238E27FC236}">
                      <a16:creationId xmlns:a16="http://schemas.microsoft.com/office/drawing/2014/main" id="{94F34D7E-AFC0-C011-0ADD-3AA408076853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: Shape 43">
                  <a:extLst>
                    <a:ext uri="{FF2B5EF4-FFF2-40B4-BE49-F238E27FC236}">
                      <a16:creationId xmlns:a16="http://schemas.microsoft.com/office/drawing/2014/main" id="{97CFA9D2-5B30-81A7-4CFA-6A4D78309234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Freeform: Shape 44">
                  <a:extLst>
                    <a:ext uri="{FF2B5EF4-FFF2-40B4-BE49-F238E27FC236}">
                      <a16:creationId xmlns:a16="http://schemas.microsoft.com/office/drawing/2014/main" id="{0204690D-FBEE-1A8E-EBE9-C0B237BC9A63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Freeform: Shape 45">
                  <a:extLst>
                    <a:ext uri="{FF2B5EF4-FFF2-40B4-BE49-F238E27FC236}">
                      <a16:creationId xmlns:a16="http://schemas.microsoft.com/office/drawing/2014/main" id="{415AD0A4-A86D-AA1E-EAF9-EBBB77CA0A45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Freeform: Shape 46">
                  <a:extLst>
                    <a:ext uri="{FF2B5EF4-FFF2-40B4-BE49-F238E27FC236}">
                      <a16:creationId xmlns:a16="http://schemas.microsoft.com/office/drawing/2014/main" id="{E5E2E103-0560-AC7C-20C5-5F0D54CD7454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: Shape 47">
                  <a:extLst>
                    <a:ext uri="{FF2B5EF4-FFF2-40B4-BE49-F238E27FC236}">
                      <a16:creationId xmlns:a16="http://schemas.microsoft.com/office/drawing/2014/main" id="{33EA7ACD-6FE6-E987-77CF-095DE7EE9CB9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: Shape 48">
                  <a:extLst>
                    <a:ext uri="{FF2B5EF4-FFF2-40B4-BE49-F238E27FC236}">
                      <a16:creationId xmlns:a16="http://schemas.microsoft.com/office/drawing/2014/main" id="{5EB12E5F-E5A7-2BB7-167C-D0A5C9FD4C10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: Shape 49">
                  <a:extLst>
                    <a:ext uri="{FF2B5EF4-FFF2-40B4-BE49-F238E27FC236}">
                      <a16:creationId xmlns:a16="http://schemas.microsoft.com/office/drawing/2014/main" id="{EDA8E1DA-6DCC-E35E-D3A3-4CC5DE12D9E1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: Shape 50">
                  <a:extLst>
                    <a:ext uri="{FF2B5EF4-FFF2-40B4-BE49-F238E27FC236}">
                      <a16:creationId xmlns:a16="http://schemas.microsoft.com/office/drawing/2014/main" id="{67E6B24B-F417-45F5-5D1E-CA3D2C512B5F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: Shape 51">
                  <a:extLst>
                    <a:ext uri="{FF2B5EF4-FFF2-40B4-BE49-F238E27FC236}">
                      <a16:creationId xmlns:a16="http://schemas.microsoft.com/office/drawing/2014/main" id="{12FD27CA-4A89-4989-DB2D-2FEDB42890EA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: Shape 52">
                  <a:extLst>
                    <a:ext uri="{FF2B5EF4-FFF2-40B4-BE49-F238E27FC236}">
                      <a16:creationId xmlns:a16="http://schemas.microsoft.com/office/drawing/2014/main" id="{28D4E320-22BD-7815-1E7E-26CD79A126B0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BB0ED661-C915-240F-EB5F-5D42560C6EB4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116" name="Freeform: Shape 26">
                  <a:extLst>
                    <a:ext uri="{FF2B5EF4-FFF2-40B4-BE49-F238E27FC236}">
                      <a16:creationId xmlns:a16="http://schemas.microsoft.com/office/drawing/2014/main" id="{F2A908FD-DBDC-DE30-6138-C361167DA23A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: Shape 27">
                  <a:extLst>
                    <a:ext uri="{FF2B5EF4-FFF2-40B4-BE49-F238E27FC236}">
                      <a16:creationId xmlns:a16="http://schemas.microsoft.com/office/drawing/2014/main" id="{9D428F8E-E005-5B2C-B6AF-634801C90021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: Shape 28">
                  <a:extLst>
                    <a:ext uri="{FF2B5EF4-FFF2-40B4-BE49-F238E27FC236}">
                      <a16:creationId xmlns:a16="http://schemas.microsoft.com/office/drawing/2014/main" id="{24E4794A-D0C6-B686-320C-1BF6F7445007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29">
                  <a:extLst>
                    <a:ext uri="{FF2B5EF4-FFF2-40B4-BE49-F238E27FC236}">
                      <a16:creationId xmlns:a16="http://schemas.microsoft.com/office/drawing/2014/main" id="{9D060069-172B-1499-B8FB-84B1F1393202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: Shape 30">
                  <a:extLst>
                    <a:ext uri="{FF2B5EF4-FFF2-40B4-BE49-F238E27FC236}">
                      <a16:creationId xmlns:a16="http://schemas.microsoft.com/office/drawing/2014/main" id="{82973E27-469B-B1A3-56D1-6B5058C8BF21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31">
                  <a:extLst>
                    <a:ext uri="{FF2B5EF4-FFF2-40B4-BE49-F238E27FC236}">
                      <a16:creationId xmlns:a16="http://schemas.microsoft.com/office/drawing/2014/main" id="{63781CD7-25E9-699D-31E7-53E86DB07F18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: Shape 32">
                  <a:extLst>
                    <a:ext uri="{FF2B5EF4-FFF2-40B4-BE49-F238E27FC236}">
                      <a16:creationId xmlns:a16="http://schemas.microsoft.com/office/drawing/2014/main" id="{BEC7D044-A64C-7B66-4AF6-07517897A307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CD699EAA-3C01-9591-3443-5192E7634C84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55192ECB-E6AA-F8DB-7050-CC847D62D0C0}"/>
              </a:ext>
            </a:extLst>
          </p:cNvPr>
          <p:cNvCxnSpPr>
            <a:cxnSpLocks/>
          </p:cNvCxnSpPr>
          <p:nvPr userDrawn="1"/>
        </p:nvCxnSpPr>
        <p:spPr>
          <a:xfrm>
            <a:off x="3746324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001C8DF9-2078-A365-F265-CBC52D98F078}"/>
              </a:ext>
            </a:extLst>
          </p:cNvPr>
          <p:cNvCxnSpPr>
            <a:cxnSpLocks/>
          </p:cNvCxnSpPr>
          <p:nvPr userDrawn="1"/>
        </p:nvCxnSpPr>
        <p:spPr>
          <a:xfrm>
            <a:off x="6607131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23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AC923037-76E7-083B-E716-2F6599047A2E}"/>
              </a:ext>
            </a:extLst>
          </p:cNvPr>
          <p:cNvGrpSpPr/>
          <p:nvPr userDrawn="1"/>
        </p:nvGrpSpPr>
        <p:grpSpPr>
          <a:xfrm>
            <a:off x="862265" y="1612232"/>
            <a:ext cx="2338382" cy="4162926"/>
            <a:chOff x="862265" y="1612232"/>
            <a:chExt cx="2338382" cy="416292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73D9E96-6D04-CF58-DFC8-0D4B17367991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20" name="Graphic 42">
                <a:extLst>
                  <a:ext uri="{FF2B5EF4-FFF2-40B4-BE49-F238E27FC236}">
                    <a16:creationId xmlns:a16="http://schemas.microsoft.com/office/drawing/2014/main" id="{448CA28D-111D-776B-4D60-4AA669480874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29" name="Freeform: Shape 33">
                  <a:extLst>
                    <a:ext uri="{FF2B5EF4-FFF2-40B4-BE49-F238E27FC236}">
                      <a16:creationId xmlns:a16="http://schemas.microsoft.com/office/drawing/2014/main" id="{CCDFAC58-5131-458F-C34F-2AD02EF5F148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: Shape 34">
                  <a:extLst>
                    <a:ext uri="{FF2B5EF4-FFF2-40B4-BE49-F238E27FC236}">
                      <a16:creationId xmlns:a16="http://schemas.microsoft.com/office/drawing/2014/main" id="{9D14880D-D2A2-1252-8285-166AB0A180B4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: Shape 35">
                  <a:extLst>
                    <a:ext uri="{FF2B5EF4-FFF2-40B4-BE49-F238E27FC236}">
                      <a16:creationId xmlns:a16="http://schemas.microsoft.com/office/drawing/2014/main" id="{10CE4AB4-B9E6-0361-60B1-916FF65D27D7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: Shape 36">
                  <a:extLst>
                    <a:ext uri="{FF2B5EF4-FFF2-40B4-BE49-F238E27FC236}">
                      <a16:creationId xmlns:a16="http://schemas.microsoft.com/office/drawing/2014/main" id="{168CF0C5-82AD-DD34-16E0-9AC69013478F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: Shape 37">
                  <a:extLst>
                    <a:ext uri="{FF2B5EF4-FFF2-40B4-BE49-F238E27FC236}">
                      <a16:creationId xmlns:a16="http://schemas.microsoft.com/office/drawing/2014/main" id="{8E44B1F8-921B-D664-8B00-8AD860F28B12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: Shape 38">
                  <a:extLst>
                    <a:ext uri="{FF2B5EF4-FFF2-40B4-BE49-F238E27FC236}">
                      <a16:creationId xmlns:a16="http://schemas.microsoft.com/office/drawing/2014/main" id="{112533DF-028F-6EB4-2AA5-DBB3F93DC2C0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: Shape 39">
                  <a:extLst>
                    <a:ext uri="{FF2B5EF4-FFF2-40B4-BE49-F238E27FC236}">
                      <a16:creationId xmlns:a16="http://schemas.microsoft.com/office/drawing/2014/main" id="{43A6496A-E328-135F-0E09-99BF9576552C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: Shape 40">
                  <a:extLst>
                    <a:ext uri="{FF2B5EF4-FFF2-40B4-BE49-F238E27FC236}">
                      <a16:creationId xmlns:a16="http://schemas.microsoft.com/office/drawing/2014/main" id="{89FFCB27-549C-1C79-7611-A1A902ED2DDF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: Shape 41">
                  <a:extLst>
                    <a:ext uri="{FF2B5EF4-FFF2-40B4-BE49-F238E27FC236}">
                      <a16:creationId xmlns:a16="http://schemas.microsoft.com/office/drawing/2014/main" id="{F44A6B2F-325C-4285-F37B-9B8F94CF4B61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: Shape 42">
                  <a:extLst>
                    <a:ext uri="{FF2B5EF4-FFF2-40B4-BE49-F238E27FC236}">
                      <a16:creationId xmlns:a16="http://schemas.microsoft.com/office/drawing/2014/main" id="{8C26B916-174F-F58B-B7AD-87560A6D8F33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: Shape 43">
                  <a:extLst>
                    <a:ext uri="{FF2B5EF4-FFF2-40B4-BE49-F238E27FC236}">
                      <a16:creationId xmlns:a16="http://schemas.microsoft.com/office/drawing/2014/main" id="{562E6E53-F7D4-00B0-F6BB-83A913E18E0D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: Shape 44">
                  <a:extLst>
                    <a:ext uri="{FF2B5EF4-FFF2-40B4-BE49-F238E27FC236}">
                      <a16:creationId xmlns:a16="http://schemas.microsoft.com/office/drawing/2014/main" id="{584334FA-79C4-9FA9-D9D0-AE61510BE103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: Shape 45">
                  <a:extLst>
                    <a:ext uri="{FF2B5EF4-FFF2-40B4-BE49-F238E27FC236}">
                      <a16:creationId xmlns:a16="http://schemas.microsoft.com/office/drawing/2014/main" id="{BBE1D073-993E-D6E5-EC3E-FC6CA8D9886B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: Shape 46">
                  <a:extLst>
                    <a:ext uri="{FF2B5EF4-FFF2-40B4-BE49-F238E27FC236}">
                      <a16:creationId xmlns:a16="http://schemas.microsoft.com/office/drawing/2014/main" id="{83F764FD-8E27-B379-9FAE-1D289E34A787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: Shape 47">
                  <a:extLst>
                    <a:ext uri="{FF2B5EF4-FFF2-40B4-BE49-F238E27FC236}">
                      <a16:creationId xmlns:a16="http://schemas.microsoft.com/office/drawing/2014/main" id="{F35E4914-347A-1977-0E33-6136EA18B88C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8">
                  <a:extLst>
                    <a:ext uri="{FF2B5EF4-FFF2-40B4-BE49-F238E27FC236}">
                      <a16:creationId xmlns:a16="http://schemas.microsoft.com/office/drawing/2014/main" id="{F00340EA-3F31-5C24-7ABE-CB245856435A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9">
                  <a:extLst>
                    <a:ext uri="{FF2B5EF4-FFF2-40B4-BE49-F238E27FC236}">
                      <a16:creationId xmlns:a16="http://schemas.microsoft.com/office/drawing/2014/main" id="{EFFF877C-AB18-41CC-14F0-0D5FBC6FCCCD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50">
                  <a:extLst>
                    <a:ext uri="{FF2B5EF4-FFF2-40B4-BE49-F238E27FC236}">
                      <a16:creationId xmlns:a16="http://schemas.microsoft.com/office/drawing/2014/main" id="{31915A05-629F-E346-2AB3-D63B2E064626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51">
                  <a:extLst>
                    <a:ext uri="{FF2B5EF4-FFF2-40B4-BE49-F238E27FC236}">
                      <a16:creationId xmlns:a16="http://schemas.microsoft.com/office/drawing/2014/main" id="{D2FC5AD3-4D90-669E-B4FF-B8B811E21E2C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: Shape 52">
                  <a:extLst>
                    <a:ext uri="{FF2B5EF4-FFF2-40B4-BE49-F238E27FC236}">
                      <a16:creationId xmlns:a16="http://schemas.microsoft.com/office/drawing/2014/main" id="{BD2BEE39-4C0A-54D1-0FB4-CA9A4C4DB9D9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0454AF3C-3A34-48A0-94CE-87992504E68E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22" name="Freeform: Shape 26">
                  <a:extLst>
                    <a:ext uri="{FF2B5EF4-FFF2-40B4-BE49-F238E27FC236}">
                      <a16:creationId xmlns:a16="http://schemas.microsoft.com/office/drawing/2014/main" id="{52B1A317-B762-C6F1-2116-0373123DDA35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Freeform: Shape 27">
                  <a:extLst>
                    <a:ext uri="{FF2B5EF4-FFF2-40B4-BE49-F238E27FC236}">
                      <a16:creationId xmlns:a16="http://schemas.microsoft.com/office/drawing/2014/main" id="{5E73A686-6F33-D02A-87E0-9D0F4850169D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: Shape 28">
                  <a:extLst>
                    <a:ext uri="{FF2B5EF4-FFF2-40B4-BE49-F238E27FC236}">
                      <a16:creationId xmlns:a16="http://schemas.microsoft.com/office/drawing/2014/main" id="{875AD4CC-6314-C2CB-D780-BFC2C4AC09CA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: Shape 29">
                  <a:extLst>
                    <a:ext uri="{FF2B5EF4-FFF2-40B4-BE49-F238E27FC236}">
                      <a16:creationId xmlns:a16="http://schemas.microsoft.com/office/drawing/2014/main" id="{679E0774-0140-F7FE-9E56-373FA1B30A83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: Shape 30">
                  <a:extLst>
                    <a:ext uri="{FF2B5EF4-FFF2-40B4-BE49-F238E27FC236}">
                      <a16:creationId xmlns:a16="http://schemas.microsoft.com/office/drawing/2014/main" id="{378F7077-11BD-2255-56DF-CCF08D622BD7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: Shape 31">
                  <a:extLst>
                    <a:ext uri="{FF2B5EF4-FFF2-40B4-BE49-F238E27FC236}">
                      <a16:creationId xmlns:a16="http://schemas.microsoft.com/office/drawing/2014/main" id="{CDF31240-81CC-B9E6-4DD4-F357E67983D8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: Shape 32">
                  <a:extLst>
                    <a:ext uri="{FF2B5EF4-FFF2-40B4-BE49-F238E27FC236}">
                      <a16:creationId xmlns:a16="http://schemas.microsoft.com/office/drawing/2014/main" id="{46F2587C-0849-DF2A-CBBE-07EE294EA7FC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980AD73-00B3-9D84-22DF-391143F54AE0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C0782D-07C9-6C9A-899C-240F6B16CA2D}"/>
              </a:ext>
            </a:extLst>
          </p:cNvPr>
          <p:cNvSpPr/>
          <p:nvPr userDrawn="1"/>
        </p:nvSpPr>
        <p:spPr>
          <a:xfrm>
            <a:off x="0" y="1614433"/>
            <a:ext cx="511478" cy="41607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E52D23A9-739E-7103-45A8-08E68C80B3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9" name="Text Placeholder 85">
            <a:extLst>
              <a:ext uri="{FF2B5EF4-FFF2-40B4-BE49-F238E27FC236}">
                <a16:creationId xmlns:a16="http://schemas.microsoft.com/office/drawing/2014/main" id="{01FDCED4-F296-8D2C-D085-A7266F35E9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123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60" name="Text Placeholder 121">
            <a:extLst>
              <a:ext uri="{FF2B5EF4-FFF2-40B4-BE49-F238E27FC236}">
                <a16:creationId xmlns:a16="http://schemas.microsoft.com/office/drawing/2014/main" id="{C2504015-3812-BDB5-95CF-6382A417FD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45279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AF2C3772-2C69-6BB2-9EC4-6BD3DBC2A3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30835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3" name="Text Placeholder 85">
            <a:extLst>
              <a:ext uri="{FF2B5EF4-FFF2-40B4-BE49-F238E27FC236}">
                <a16:creationId xmlns:a16="http://schemas.microsoft.com/office/drawing/2014/main" id="{22737C18-8C44-19DF-0BE8-E56592E665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046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64" name="Text Placeholder 121">
            <a:extLst>
              <a:ext uri="{FF2B5EF4-FFF2-40B4-BE49-F238E27FC236}">
                <a16:creationId xmlns:a16="http://schemas.microsoft.com/office/drawing/2014/main" id="{35BC947F-53F0-4E72-BC4C-7B3991654D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0762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FDCCB271-4287-D3B7-6512-439C25F54A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05145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7" name="Text Placeholder 85">
            <a:extLst>
              <a:ext uri="{FF2B5EF4-FFF2-40B4-BE49-F238E27FC236}">
                <a16:creationId xmlns:a16="http://schemas.microsoft.com/office/drawing/2014/main" id="{DC8ABA07-92AD-FBF2-96C8-AE3C7CDB7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54777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85" name="Text Placeholder 121">
            <a:extLst>
              <a:ext uri="{FF2B5EF4-FFF2-40B4-BE49-F238E27FC236}">
                <a16:creationId xmlns:a16="http://schemas.microsoft.com/office/drawing/2014/main" id="{FAAE4BC0-4C70-E6D6-5013-0E6C80F4BB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1933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C092F8B2-2CDC-D8E0-3322-4AE25823EADE}"/>
              </a:ext>
            </a:extLst>
          </p:cNvPr>
          <p:cNvCxnSpPr>
            <a:cxnSpLocks/>
          </p:cNvCxnSpPr>
          <p:nvPr userDrawn="1"/>
        </p:nvCxnSpPr>
        <p:spPr>
          <a:xfrm>
            <a:off x="1681817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CCD68B8-5573-DDFA-D016-F416C7DFD548}"/>
              </a:ext>
            </a:extLst>
          </p:cNvPr>
          <p:cNvCxnSpPr>
            <a:cxnSpLocks/>
          </p:cNvCxnSpPr>
          <p:nvPr userDrawn="1"/>
        </p:nvCxnSpPr>
        <p:spPr>
          <a:xfrm>
            <a:off x="4546044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 Placeholder 3">
            <a:extLst>
              <a:ext uri="{FF2B5EF4-FFF2-40B4-BE49-F238E27FC236}">
                <a16:creationId xmlns:a16="http://schemas.microsoft.com/office/drawing/2014/main" id="{590205EF-F2BF-E457-3107-12662231582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4310" y="4814264"/>
            <a:ext cx="2103120" cy="27699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900" b="1" cap="all" baseline="0"/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7" name="Text Placeholder 85">
            <a:extLst>
              <a:ext uri="{FF2B5EF4-FFF2-40B4-BE49-F238E27FC236}">
                <a16:creationId xmlns:a16="http://schemas.microsoft.com/office/drawing/2014/main" id="{6F5D37F2-D532-52AA-6E6D-352C405B6C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23942" y="5404000"/>
            <a:ext cx="2286000" cy="193899"/>
          </a:xfrm>
        </p:spPr>
        <p:txBody>
          <a:bodyPr vert="horz" lIns="0" tIns="0" rIns="0" bIns="0" rtlCol="0" anchor="b" anchorCtr="0">
            <a:normAutofit/>
          </a:bodyPr>
          <a:lstStyle>
            <a:lvl1pPr marL="285750" indent="-285750" algn="ctr">
              <a:spcBef>
                <a:spcPts val="0"/>
              </a:spcBef>
              <a:buFontTx/>
              <a:buNone/>
              <a:defRPr lang="en-US" sz="1400" b="0" dirty="0"/>
            </a:lvl1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Title</a:t>
            </a:r>
          </a:p>
        </p:txBody>
      </p:sp>
      <p:sp>
        <p:nvSpPr>
          <p:cNvPr id="228" name="Text Placeholder 121">
            <a:extLst>
              <a:ext uri="{FF2B5EF4-FFF2-40B4-BE49-F238E27FC236}">
                <a16:creationId xmlns:a16="http://schemas.microsoft.com/office/drawing/2014/main" id="{1CA57A0D-9F47-BC0E-A542-B4E5697E651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651098" y="6213150"/>
            <a:ext cx="1828800" cy="166199"/>
          </a:xfrm>
        </p:spPr>
        <p:txBody>
          <a:bodyPr vert="horz" lIns="0" tIns="0" rIns="0" bIns="0" rtlCol="0" anchor="t" anchorCtr="0">
            <a:spAutoFit/>
          </a:bodyPr>
          <a:lstStyle>
            <a:lvl1pPr marL="171450" indent="-171450" algn="ctr">
              <a:spcBef>
                <a:spcPts val="0"/>
              </a:spcBef>
              <a:buFontTx/>
              <a:buNone/>
              <a:defRPr lang="en-US" sz="1200" b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 indent="0" algn="ctr">
              <a:spcBef>
                <a:spcPts val="600"/>
              </a:spcBef>
              <a:buNone/>
            </a:pPr>
            <a:r>
              <a:rPr lang="en-US" dirty="0"/>
              <a:t>Company Name /  logo</a:t>
            </a: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B239310B-1FB7-3CDC-4D73-3B5DFD6B933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10617301" y="6372899"/>
            <a:ext cx="1574697" cy="184647"/>
            <a:chOff x="-8365" y="6414219"/>
            <a:chExt cx="3024563" cy="354656"/>
          </a:xfrm>
          <a:gradFill>
            <a:gsLst>
              <a:gs pos="1000">
                <a:schemeClr val="tx1">
                  <a:alpha val="50000"/>
                </a:schemeClr>
              </a:gs>
              <a:gs pos="40000">
                <a:schemeClr val="bg1">
                  <a:alpha val="0"/>
                </a:schemeClr>
              </a:gs>
            </a:gsLst>
            <a:lin ang="0" scaled="0"/>
          </a:gradFill>
        </p:grpSpPr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7CAE7D53-C0CD-009E-38EE-2A7F9109B370}"/>
                </a:ext>
              </a:extLst>
            </p:cNvPr>
            <p:cNvSpPr/>
            <p:nvPr/>
          </p:nvSpPr>
          <p:spPr>
            <a:xfrm>
              <a:off x="1254664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FC2E9697-4503-807F-677D-BD68BE3AAB4D}"/>
                </a:ext>
              </a:extLst>
            </p:cNvPr>
            <p:cNvSpPr/>
            <p:nvPr/>
          </p:nvSpPr>
          <p:spPr>
            <a:xfrm>
              <a:off x="1037409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1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1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EE8DB4C9-5AC8-CC40-F8E5-DF81265EDB1A}"/>
                </a:ext>
              </a:extLst>
            </p:cNvPr>
            <p:cNvSpPr/>
            <p:nvPr/>
          </p:nvSpPr>
          <p:spPr>
            <a:xfrm>
              <a:off x="820005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7516B739-ECCC-8CB6-F940-250AB83F1A24}"/>
                </a:ext>
              </a:extLst>
            </p:cNvPr>
            <p:cNvSpPr/>
            <p:nvPr/>
          </p:nvSpPr>
          <p:spPr>
            <a:xfrm>
              <a:off x="602602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62D0217-448B-2A7C-7E68-7153A32E2A64}"/>
                </a:ext>
              </a:extLst>
            </p:cNvPr>
            <p:cNvSpPr/>
            <p:nvPr/>
          </p:nvSpPr>
          <p:spPr>
            <a:xfrm>
              <a:off x="167943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5D72FE6-3BF4-D1C8-A191-D85E73E94371}"/>
                </a:ext>
              </a:extLst>
            </p:cNvPr>
            <p:cNvSpPr/>
            <p:nvPr/>
          </p:nvSpPr>
          <p:spPr>
            <a:xfrm>
              <a:off x="385347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1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1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1AB2A8E1-DEC0-288D-0BD8-6780CFF6006A}"/>
                </a:ext>
              </a:extLst>
            </p:cNvPr>
            <p:cNvSpPr/>
            <p:nvPr/>
          </p:nvSpPr>
          <p:spPr>
            <a:xfrm>
              <a:off x="2566670" y="6414219"/>
              <a:ext cx="434658" cy="339786"/>
            </a:xfrm>
            <a:custGeom>
              <a:avLst/>
              <a:gdLst>
                <a:gd name="connsiteX0" fmla="*/ 434658 w 434658"/>
                <a:gd name="connsiteY0" fmla="*/ 0 h 339786"/>
                <a:gd name="connsiteX1" fmla="*/ 350939 w 434658"/>
                <a:gd name="connsiteY1" fmla="*/ 0 h 339786"/>
                <a:gd name="connsiteX2" fmla="*/ 0 w 434658"/>
                <a:gd name="connsiteY2" fmla="*/ 339786 h 339786"/>
                <a:gd name="connsiteX3" fmla="*/ 105281 w 434658"/>
                <a:gd name="connsiteY3" fmla="*/ 339786 h 339786"/>
                <a:gd name="connsiteX4" fmla="*/ 434658 w 434658"/>
                <a:gd name="connsiteY4" fmla="*/ 20967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4658" h="339786">
                  <a:moveTo>
                    <a:pt x="434658" y="0"/>
                  </a:moveTo>
                  <a:lnTo>
                    <a:pt x="350939" y="0"/>
                  </a:lnTo>
                  <a:lnTo>
                    <a:pt x="0" y="339786"/>
                  </a:lnTo>
                  <a:lnTo>
                    <a:pt x="105281" y="339786"/>
                  </a:lnTo>
                  <a:lnTo>
                    <a:pt x="434658" y="20967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A1A82FD9-3C02-8D60-D768-FB33B5ED03AE}"/>
                </a:ext>
              </a:extLst>
            </p:cNvPr>
            <p:cNvSpPr/>
            <p:nvPr/>
          </p:nvSpPr>
          <p:spPr>
            <a:xfrm>
              <a:off x="1472068" y="6414219"/>
              <a:ext cx="456369" cy="339786"/>
            </a:xfrm>
            <a:custGeom>
              <a:avLst/>
              <a:gdLst>
                <a:gd name="connsiteX0" fmla="*/ 350939 w 456369"/>
                <a:gd name="connsiteY0" fmla="*/ 0 h 339786"/>
                <a:gd name="connsiteX1" fmla="*/ 0 w 456369"/>
                <a:gd name="connsiteY1" fmla="*/ 339786 h 339786"/>
                <a:gd name="connsiteX2" fmla="*/ 105431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0939" y="0"/>
                  </a:moveTo>
                  <a:lnTo>
                    <a:pt x="0" y="339786"/>
                  </a:lnTo>
                  <a:lnTo>
                    <a:pt x="105431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B2D975E4-35F1-0162-241A-5A5C433F7577}"/>
                </a:ext>
              </a:extLst>
            </p:cNvPr>
            <p:cNvSpPr/>
            <p:nvPr/>
          </p:nvSpPr>
          <p:spPr>
            <a:xfrm>
              <a:off x="2349266" y="6414219"/>
              <a:ext cx="456368" cy="339786"/>
            </a:xfrm>
            <a:custGeom>
              <a:avLst/>
              <a:gdLst>
                <a:gd name="connsiteX0" fmla="*/ 350939 w 456368"/>
                <a:gd name="connsiteY0" fmla="*/ 0 h 339786"/>
                <a:gd name="connsiteX1" fmla="*/ 0 w 456368"/>
                <a:gd name="connsiteY1" fmla="*/ 339786 h 339786"/>
                <a:gd name="connsiteX2" fmla="*/ 105430 w 456368"/>
                <a:gd name="connsiteY2" fmla="*/ 339786 h 339786"/>
                <a:gd name="connsiteX3" fmla="*/ 456369 w 456368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8" h="339786">
                  <a:moveTo>
                    <a:pt x="350939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9F99DF58-F0ED-C9D2-F393-B1EC6194AC06}"/>
                </a:ext>
              </a:extLst>
            </p:cNvPr>
            <p:cNvSpPr/>
            <p:nvPr/>
          </p:nvSpPr>
          <p:spPr>
            <a:xfrm>
              <a:off x="3001328" y="6754005"/>
              <a:ext cx="14870" cy="14870"/>
            </a:xfrm>
            <a:custGeom>
              <a:avLst/>
              <a:gdLst>
                <a:gd name="connsiteX0" fmla="*/ 0 w 14870"/>
                <a:gd name="connsiteY0" fmla="*/ 0 h 14870"/>
                <a:gd name="connsiteX1" fmla="*/ 0 w 14870"/>
                <a:gd name="connsiteY1" fmla="*/ 0 h 14870"/>
                <a:gd name="connsiteX2" fmla="*/ 0 w 14870"/>
                <a:gd name="connsiteY2" fmla="*/ 0 h 1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70" h="1487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B52CA7D-C93F-6A49-134F-B0B0DFF023A8}"/>
                </a:ext>
              </a:extLst>
            </p:cNvPr>
            <p:cNvSpPr/>
            <p:nvPr/>
          </p:nvSpPr>
          <p:spPr>
            <a:xfrm>
              <a:off x="2783925" y="6543590"/>
              <a:ext cx="217403" cy="210414"/>
            </a:xfrm>
            <a:custGeom>
              <a:avLst/>
              <a:gdLst>
                <a:gd name="connsiteX0" fmla="*/ 217404 w 217403"/>
                <a:gd name="connsiteY0" fmla="*/ 0 h 210414"/>
                <a:gd name="connsiteX1" fmla="*/ 0 w 217403"/>
                <a:gd name="connsiteY1" fmla="*/ 210415 h 210414"/>
                <a:gd name="connsiteX2" fmla="*/ 105430 w 217403"/>
                <a:gd name="connsiteY2" fmla="*/ 210415 h 210414"/>
                <a:gd name="connsiteX3" fmla="*/ 217404 w 217403"/>
                <a:gd name="connsiteY3" fmla="*/ 102010 h 21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403" h="210414">
                  <a:moveTo>
                    <a:pt x="217404" y="0"/>
                  </a:moveTo>
                  <a:lnTo>
                    <a:pt x="0" y="210415"/>
                  </a:lnTo>
                  <a:lnTo>
                    <a:pt x="105430" y="210415"/>
                  </a:lnTo>
                  <a:lnTo>
                    <a:pt x="217404" y="10201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2282DB2-6793-0022-8D24-9EBD202C4BFB}"/>
                </a:ext>
              </a:extLst>
            </p:cNvPr>
            <p:cNvSpPr/>
            <p:nvPr/>
          </p:nvSpPr>
          <p:spPr>
            <a:xfrm>
              <a:off x="1689471" y="6414219"/>
              <a:ext cx="464101" cy="339786"/>
            </a:xfrm>
            <a:custGeom>
              <a:avLst/>
              <a:gdLst>
                <a:gd name="connsiteX0" fmla="*/ 350939 w 464101"/>
                <a:gd name="connsiteY0" fmla="*/ 0 h 339786"/>
                <a:gd name="connsiteX1" fmla="*/ 0 w 464101"/>
                <a:gd name="connsiteY1" fmla="*/ 339786 h 339786"/>
                <a:gd name="connsiteX2" fmla="*/ 113163 w 464101"/>
                <a:gd name="connsiteY2" fmla="*/ 339786 h 339786"/>
                <a:gd name="connsiteX3" fmla="*/ 464102 w 464101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101" h="339786">
                  <a:moveTo>
                    <a:pt x="350939" y="0"/>
                  </a:moveTo>
                  <a:lnTo>
                    <a:pt x="0" y="339786"/>
                  </a:lnTo>
                  <a:lnTo>
                    <a:pt x="113163" y="339786"/>
                  </a:lnTo>
                  <a:lnTo>
                    <a:pt x="464102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FE1360A7-D4D6-A837-458C-A0E6ECC3F66E}"/>
                </a:ext>
              </a:extLst>
            </p:cNvPr>
            <p:cNvSpPr/>
            <p:nvPr/>
          </p:nvSpPr>
          <p:spPr>
            <a:xfrm>
              <a:off x="2131863" y="6414219"/>
              <a:ext cx="456369" cy="339786"/>
            </a:xfrm>
            <a:custGeom>
              <a:avLst/>
              <a:gdLst>
                <a:gd name="connsiteX0" fmla="*/ 351088 w 456369"/>
                <a:gd name="connsiteY0" fmla="*/ 0 h 339786"/>
                <a:gd name="connsiteX1" fmla="*/ 0 w 456369"/>
                <a:gd name="connsiteY1" fmla="*/ 339786 h 339786"/>
                <a:gd name="connsiteX2" fmla="*/ 105430 w 456369"/>
                <a:gd name="connsiteY2" fmla="*/ 339786 h 339786"/>
                <a:gd name="connsiteX3" fmla="*/ 456369 w 456369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369" h="339786">
                  <a:moveTo>
                    <a:pt x="351088" y="0"/>
                  </a:moveTo>
                  <a:lnTo>
                    <a:pt x="0" y="339786"/>
                  </a:lnTo>
                  <a:lnTo>
                    <a:pt x="105430" y="339786"/>
                  </a:lnTo>
                  <a:lnTo>
                    <a:pt x="456369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30514559-A078-83F0-A80F-4C922FA68E75}"/>
                </a:ext>
              </a:extLst>
            </p:cNvPr>
            <p:cNvSpPr/>
            <p:nvPr/>
          </p:nvSpPr>
          <p:spPr>
            <a:xfrm>
              <a:off x="1914608" y="6414219"/>
              <a:ext cx="456220" cy="339786"/>
            </a:xfrm>
            <a:custGeom>
              <a:avLst/>
              <a:gdLst>
                <a:gd name="connsiteX0" fmla="*/ 350939 w 456220"/>
                <a:gd name="connsiteY0" fmla="*/ 0 h 339786"/>
                <a:gd name="connsiteX1" fmla="*/ 0 w 456220"/>
                <a:gd name="connsiteY1" fmla="*/ 339786 h 339786"/>
                <a:gd name="connsiteX2" fmla="*/ 105282 w 456220"/>
                <a:gd name="connsiteY2" fmla="*/ 339786 h 339786"/>
                <a:gd name="connsiteX3" fmla="*/ 456220 w 456220"/>
                <a:gd name="connsiteY3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6220" h="339786">
                  <a:moveTo>
                    <a:pt x="350939" y="0"/>
                  </a:moveTo>
                  <a:lnTo>
                    <a:pt x="0" y="339786"/>
                  </a:lnTo>
                  <a:lnTo>
                    <a:pt x="105282" y="339786"/>
                  </a:lnTo>
                  <a:lnTo>
                    <a:pt x="456220" y="0"/>
                  </a:lnTo>
                  <a:close/>
                </a:path>
              </a:pathLst>
            </a:custGeom>
            <a:grpFill/>
            <a:ln w="2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3350A40-970C-ECAB-0F57-B35717E37D47}"/>
                </a:ext>
              </a:extLst>
            </p:cNvPr>
            <p:cNvSpPr/>
            <p:nvPr/>
          </p:nvSpPr>
          <p:spPr>
            <a:xfrm>
              <a:off x="-8365" y="6414220"/>
              <a:ext cx="197871" cy="191583"/>
            </a:xfrm>
            <a:custGeom>
              <a:avLst/>
              <a:gdLst>
                <a:gd name="connsiteX0" fmla="*/ 92589 w 197871"/>
                <a:gd name="connsiteY0" fmla="*/ 0 h 191583"/>
                <a:gd name="connsiteX1" fmla="*/ 197871 w 197871"/>
                <a:gd name="connsiteY1" fmla="*/ 0 h 191583"/>
                <a:gd name="connsiteX2" fmla="*/ 0 w 197871"/>
                <a:gd name="connsiteY2" fmla="*/ 191583 h 191583"/>
                <a:gd name="connsiteX3" fmla="*/ 0 w 197871"/>
                <a:gd name="connsiteY3" fmla="*/ 89647 h 191583"/>
                <a:gd name="connsiteX4" fmla="*/ 92589 w 197871"/>
                <a:gd name="connsiteY4" fmla="*/ 0 h 1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871" h="191583">
                  <a:moveTo>
                    <a:pt x="92589" y="0"/>
                  </a:moveTo>
                  <a:lnTo>
                    <a:pt x="197871" y="0"/>
                  </a:lnTo>
                  <a:lnTo>
                    <a:pt x="0" y="191583"/>
                  </a:lnTo>
                  <a:lnTo>
                    <a:pt x="0" y="89647"/>
                  </a:lnTo>
                  <a:lnTo>
                    <a:pt x="92589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E335E10E-9E79-7B7E-430A-776ADE86EC75}"/>
                </a:ext>
              </a:extLst>
            </p:cNvPr>
            <p:cNvSpPr/>
            <p:nvPr/>
          </p:nvSpPr>
          <p:spPr>
            <a:xfrm>
              <a:off x="-8365" y="6414219"/>
              <a:ext cx="415274" cy="339786"/>
            </a:xfrm>
            <a:custGeom>
              <a:avLst/>
              <a:gdLst>
                <a:gd name="connsiteX0" fmla="*/ 309844 w 415274"/>
                <a:gd name="connsiteY0" fmla="*/ 0 h 339786"/>
                <a:gd name="connsiteX1" fmla="*/ 415274 w 415274"/>
                <a:gd name="connsiteY1" fmla="*/ 0 h 339786"/>
                <a:gd name="connsiteX2" fmla="*/ 64335 w 415274"/>
                <a:gd name="connsiteY2" fmla="*/ 339786 h 339786"/>
                <a:gd name="connsiteX3" fmla="*/ 0 w 415274"/>
                <a:gd name="connsiteY3" fmla="*/ 339786 h 339786"/>
                <a:gd name="connsiteX4" fmla="*/ 0 w 415274"/>
                <a:gd name="connsiteY4" fmla="*/ 299997 h 339786"/>
                <a:gd name="connsiteX5" fmla="*/ 309844 w 415274"/>
                <a:gd name="connsiteY5" fmla="*/ 0 h 339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274" h="339786">
                  <a:moveTo>
                    <a:pt x="309844" y="0"/>
                  </a:moveTo>
                  <a:lnTo>
                    <a:pt x="415274" y="0"/>
                  </a:lnTo>
                  <a:lnTo>
                    <a:pt x="64335" y="339786"/>
                  </a:lnTo>
                  <a:lnTo>
                    <a:pt x="0" y="339786"/>
                  </a:lnTo>
                  <a:lnTo>
                    <a:pt x="0" y="299997"/>
                  </a:lnTo>
                  <a:lnTo>
                    <a:pt x="3098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1C1E5F21-CA4E-124C-2CC1-C972E04287BB}"/>
              </a:ext>
            </a:extLst>
          </p:cNvPr>
          <p:cNvCxnSpPr>
            <a:cxnSpLocks/>
          </p:cNvCxnSpPr>
          <p:nvPr userDrawn="1"/>
        </p:nvCxnSpPr>
        <p:spPr>
          <a:xfrm>
            <a:off x="7425196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1CD8660A-9C2E-CEF7-302F-F0AD2BA899E5}"/>
              </a:ext>
            </a:extLst>
          </p:cNvPr>
          <p:cNvCxnSpPr>
            <a:cxnSpLocks/>
          </p:cNvCxnSpPr>
          <p:nvPr userDrawn="1"/>
        </p:nvCxnSpPr>
        <p:spPr>
          <a:xfrm>
            <a:off x="10289423" y="5299265"/>
            <a:ext cx="48084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id="{9F4D885A-BD41-90CE-F8F1-6AAF23142C70}"/>
              </a:ext>
            </a:extLst>
          </p:cNvPr>
          <p:cNvSpPr>
            <a:spLocks noGrp="1"/>
          </p:cNvSpPr>
          <p:nvPr>
            <p:ph type="pic" idx="34" hasCustomPrompt="1"/>
          </p:nvPr>
        </p:nvSpPr>
        <p:spPr>
          <a:xfrm>
            <a:off x="87513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sp>
        <p:nvSpPr>
          <p:cNvPr id="50" name="Picture Placeholder 2">
            <a:extLst>
              <a:ext uri="{FF2B5EF4-FFF2-40B4-BE49-F238E27FC236}">
                <a16:creationId xmlns:a16="http://schemas.microsoft.com/office/drawing/2014/main" id="{E454BA95-6C4D-FF95-90B3-8CD6E9ECFC7C}"/>
              </a:ext>
            </a:extLst>
          </p:cNvPr>
          <p:cNvSpPr>
            <a:spLocks noGrp="1"/>
          </p:cNvSpPr>
          <p:nvPr>
            <p:ph type="pic" idx="35" hasCustomPrompt="1"/>
          </p:nvPr>
        </p:nvSpPr>
        <p:spPr>
          <a:xfrm>
            <a:off x="3745717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80A3CCD-54AD-C5C0-03EB-0A79A8E18349}"/>
              </a:ext>
            </a:extLst>
          </p:cNvPr>
          <p:cNvGrpSpPr/>
          <p:nvPr userDrawn="1"/>
        </p:nvGrpSpPr>
        <p:grpSpPr>
          <a:xfrm>
            <a:off x="3732852" y="1612232"/>
            <a:ext cx="2338382" cy="4162926"/>
            <a:chOff x="862265" y="1612232"/>
            <a:chExt cx="2338382" cy="4162926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1BEA514-05F4-4697-92F5-2E45455BA04C}"/>
                </a:ext>
              </a:extLst>
            </p:cNvPr>
            <p:cNvGrpSpPr/>
            <p:nvPr userDrawn="1"/>
          </p:nvGrpSpPr>
          <p:grpSpPr>
            <a:xfrm>
              <a:off x="3147504" y="2061539"/>
              <a:ext cx="53143" cy="1085389"/>
              <a:chOff x="2780760" y="2009831"/>
              <a:chExt cx="53143" cy="1085389"/>
            </a:xfrm>
          </p:grpSpPr>
          <p:grpSp>
            <p:nvGrpSpPr>
              <p:cNvPr id="54" name="Graphic 42">
                <a:extLst>
                  <a:ext uri="{FF2B5EF4-FFF2-40B4-BE49-F238E27FC236}">
                    <a16:creationId xmlns:a16="http://schemas.microsoft.com/office/drawing/2014/main" id="{1724FA00-81FA-58C0-4018-ED239D3918E0}"/>
                  </a:ext>
                </a:extLst>
              </p:cNvPr>
              <p:cNvGrpSpPr/>
              <p:nvPr userDrawn="1"/>
            </p:nvGrpSpPr>
            <p:grpSpPr>
              <a:xfrm rot="16200000" flipH="1" flipV="1">
                <a:off x="2482218" y="2310772"/>
                <a:ext cx="650227" cy="48346"/>
                <a:chOff x="7926578" y="441451"/>
                <a:chExt cx="895032" cy="66548"/>
              </a:xfrm>
              <a:solidFill>
                <a:srgbClr val="75BF43">
                  <a:alpha val="57000"/>
                </a:srgbClr>
              </a:solidFill>
            </p:grpSpPr>
            <p:sp>
              <p:nvSpPr>
                <p:cNvPr id="74" name="Freeform: Shape 33">
                  <a:extLst>
                    <a:ext uri="{FF2B5EF4-FFF2-40B4-BE49-F238E27FC236}">
                      <a16:creationId xmlns:a16="http://schemas.microsoft.com/office/drawing/2014/main" id="{B1924BC8-EEA6-7942-E271-7C1A17B2BDC7}"/>
                    </a:ext>
                  </a:extLst>
                </p:cNvPr>
                <p:cNvSpPr/>
                <p:nvPr/>
              </p:nvSpPr>
              <p:spPr>
                <a:xfrm>
                  <a:off x="8479726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: Shape 34">
                  <a:extLst>
                    <a:ext uri="{FF2B5EF4-FFF2-40B4-BE49-F238E27FC236}">
                      <a16:creationId xmlns:a16="http://schemas.microsoft.com/office/drawing/2014/main" id="{ED596803-C66F-2FFB-C58C-2F4A46302353}"/>
                    </a:ext>
                  </a:extLst>
                </p:cNvPr>
                <p:cNvSpPr/>
                <p:nvPr/>
              </p:nvSpPr>
              <p:spPr>
                <a:xfrm>
                  <a:off x="843718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: Shape 35">
                  <a:extLst>
                    <a:ext uri="{FF2B5EF4-FFF2-40B4-BE49-F238E27FC236}">
                      <a16:creationId xmlns:a16="http://schemas.microsoft.com/office/drawing/2014/main" id="{9FC5A271-A640-BEFB-5D64-160829BA4F9C}"/>
                    </a:ext>
                  </a:extLst>
                </p:cNvPr>
                <p:cNvSpPr/>
                <p:nvPr/>
              </p:nvSpPr>
              <p:spPr>
                <a:xfrm>
                  <a:off x="8394636" y="441451"/>
                  <a:ext cx="89281" cy="66548"/>
                </a:xfrm>
                <a:custGeom>
                  <a:avLst/>
                  <a:gdLst>
                    <a:gd name="connsiteX0" fmla="*/ 68707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: Shape 36">
                  <a:extLst>
                    <a:ext uri="{FF2B5EF4-FFF2-40B4-BE49-F238E27FC236}">
                      <a16:creationId xmlns:a16="http://schemas.microsoft.com/office/drawing/2014/main" id="{3FEEFA9A-6BCA-CA77-27CA-EDA67F716F2A}"/>
                    </a:ext>
                  </a:extLst>
                </p:cNvPr>
                <p:cNvSpPr/>
                <p:nvPr/>
              </p:nvSpPr>
              <p:spPr>
                <a:xfrm>
                  <a:off x="8352091" y="441451"/>
                  <a:ext cx="89280" cy="66548"/>
                </a:xfrm>
                <a:custGeom>
                  <a:avLst/>
                  <a:gdLst>
                    <a:gd name="connsiteX0" fmla="*/ 68707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: Shape 37">
                  <a:extLst>
                    <a:ext uri="{FF2B5EF4-FFF2-40B4-BE49-F238E27FC236}">
                      <a16:creationId xmlns:a16="http://schemas.microsoft.com/office/drawing/2014/main" id="{77A06DDC-D0F2-FAE3-D450-8DAACC70F695}"/>
                    </a:ext>
                  </a:extLst>
                </p:cNvPr>
                <p:cNvSpPr/>
                <p:nvPr/>
              </p:nvSpPr>
              <p:spPr>
                <a:xfrm>
                  <a:off x="813930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: Shape 38">
                  <a:extLst>
                    <a:ext uri="{FF2B5EF4-FFF2-40B4-BE49-F238E27FC236}">
                      <a16:creationId xmlns:a16="http://schemas.microsoft.com/office/drawing/2014/main" id="{56A6C680-F16E-2795-9319-2A5423243928}"/>
                    </a:ext>
                  </a:extLst>
                </p:cNvPr>
                <p:cNvSpPr/>
                <p:nvPr/>
              </p:nvSpPr>
              <p:spPr>
                <a:xfrm>
                  <a:off x="818184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: Shape 39">
                  <a:extLst>
                    <a:ext uri="{FF2B5EF4-FFF2-40B4-BE49-F238E27FC236}">
                      <a16:creationId xmlns:a16="http://schemas.microsoft.com/office/drawing/2014/main" id="{9FC13C3F-A8A8-857F-E25A-0149615CB959}"/>
                    </a:ext>
                  </a:extLst>
                </p:cNvPr>
                <p:cNvSpPr/>
                <p:nvPr/>
              </p:nvSpPr>
              <p:spPr>
                <a:xfrm>
                  <a:off x="8267001" y="441451"/>
                  <a:ext cx="89280" cy="66548"/>
                </a:xfrm>
                <a:custGeom>
                  <a:avLst/>
                  <a:gdLst>
                    <a:gd name="connsiteX0" fmla="*/ 68643 w 89280"/>
                    <a:gd name="connsiteY0" fmla="*/ 0 h 66548"/>
                    <a:gd name="connsiteX1" fmla="*/ 0 w 89280"/>
                    <a:gd name="connsiteY1" fmla="*/ 66548 h 66548"/>
                    <a:gd name="connsiteX2" fmla="*/ 20574 w 89280"/>
                    <a:gd name="connsiteY2" fmla="*/ 66548 h 66548"/>
                    <a:gd name="connsiteX3" fmla="*/ 89281 w 89280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0" h="66548">
                      <a:moveTo>
                        <a:pt x="68643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: Shape 40">
                  <a:extLst>
                    <a:ext uri="{FF2B5EF4-FFF2-40B4-BE49-F238E27FC236}">
                      <a16:creationId xmlns:a16="http://schemas.microsoft.com/office/drawing/2014/main" id="{DA8C2DCF-D346-B3F9-105D-927202486D53}"/>
                    </a:ext>
                  </a:extLst>
                </p:cNvPr>
                <p:cNvSpPr/>
                <p:nvPr/>
              </p:nvSpPr>
              <p:spPr>
                <a:xfrm>
                  <a:off x="822439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: Shape 41">
                  <a:extLst>
                    <a:ext uri="{FF2B5EF4-FFF2-40B4-BE49-F238E27FC236}">
                      <a16:creationId xmlns:a16="http://schemas.microsoft.com/office/drawing/2014/main" id="{34C337AB-D19B-0E29-15F4-301786E42A09}"/>
                    </a:ext>
                  </a:extLst>
                </p:cNvPr>
                <p:cNvSpPr/>
                <p:nvPr/>
              </p:nvSpPr>
              <p:spPr>
                <a:xfrm>
                  <a:off x="8309546" y="441451"/>
                  <a:ext cx="89281" cy="66548"/>
                </a:xfrm>
                <a:custGeom>
                  <a:avLst/>
                  <a:gdLst>
                    <a:gd name="connsiteX0" fmla="*/ 68644 w 89281"/>
                    <a:gd name="connsiteY0" fmla="*/ 0 h 66548"/>
                    <a:gd name="connsiteX1" fmla="*/ 0 w 89281"/>
                    <a:gd name="connsiteY1" fmla="*/ 66548 h 66548"/>
                    <a:gd name="connsiteX2" fmla="*/ 20574 w 89281"/>
                    <a:gd name="connsiteY2" fmla="*/ 66548 h 66548"/>
                    <a:gd name="connsiteX3" fmla="*/ 89281 w 89281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281" h="66548">
                      <a:moveTo>
                        <a:pt x="68644" y="0"/>
                      </a:moveTo>
                      <a:lnTo>
                        <a:pt x="0" y="66548"/>
                      </a:lnTo>
                      <a:lnTo>
                        <a:pt x="20574" y="66548"/>
                      </a:lnTo>
                      <a:lnTo>
                        <a:pt x="89281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: Shape 42">
                  <a:extLst>
                    <a:ext uri="{FF2B5EF4-FFF2-40B4-BE49-F238E27FC236}">
                      <a16:creationId xmlns:a16="http://schemas.microsoft.com/office/drawing/2014/main" id="{FD44BF94-7CB3-6F43-7797-E1FB2070865D}"/>
                    </a:ext>
                  </a:extLst>
                </p:cNvPr>
                <p:cNvSpPr/>
                <p:nvPr/>
              </p:nvSpPr>
              <p:spPr>
                <a:xfrm>
                  <a:off x="8522271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: Shape 43">
                  <a:extLst>
                    <a:ext uri="{FF2B5EF4-FFF2-40B4-BE49-F238E27FC236}">
                      <a16:creationId xmlns:a16="http://schemas.microsoft.com/office/drawing/2014/main" id="{8F82EEDD-A82F-899A-4805-5D542C1BC81A}"/>
                    </a:ext>
                  </a:extLst>
                </p:cNvPr>
                <p:cNvSpPr/>
                <p:nvPr/>
              </p:nvSpPr>
              <p:spPr>
                <a:xfrm>
                  <a:off x="869397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: Shape 44">
                  <a:extLst>
                    <a:ext uri="{FF2B5EF4-FFF2-40B4-BE49-F238E27FC236}">
                      <a16:creationId xmlns:a16="http://schemas.microsoft.com/office/drawing/2014/main" id="{0260BA2E-97F7-F62E-112E-156B5EDC954D}"/>
                    </a:ext>
                  </a:extLst>
                </p:cNvPr>
                <p:cNvSpPr/>
                <p:nvPr/>
              </p:nvSpPr>
              <p:spPr>
                <a:xfrm>
                  <a:off x="8821610" y="508000"/>
                  <a:ext cx="6350" cy="6350"/>
                </a:xfrm>
                <a:custGeom>
                  <a:avLst/>
                  <a:gdLst>
                    <a:gd name="connsiteX0" fmla="*/ 0 w 6350"/>
                    <a:gd name="connsiteY0" fmla="*/ 0 h 6350"/>
                    <a:gd name="connsiteX1" fmla="*/ 0 w 6350"/>
                    <a:gd name="connsiteY1" fmla="*/ 0 h 6350"/>
                    <a:gd name="connsiteX2" fmla="*/ 0 w 6350"/>
                    <a:gd name="connsiteY2" fmla="*/ 0 h 6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350" h="63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: Shape 45">
                  <a:extLst>
                    <a:ext uri="{FF2B5EF4-FFF2-40B4-BE49-F238E27FC236}">
                      <a16:creationId xmlns:a16="http://schemas.microsoft.com/office/drawing/2014/main" id="{A9F702D9-742A-B09B-0CC6-399789BD22F7}"/>
                    </a:ext>
                  </a:extLst>
                </p:cNvPr>
                <p:cNvSpPr/>
                <p:nvPr/>
              </p:nvSpPr>
              <p:spPr>
                <a:xfrm>
                  <a:off x="8564816" y="441451"/>
                  <a:ext cx="90868" cy="66548"/>
                </a:xfrm>
                <a:custGeom>
                  <a:avLst/>
                  <a:gdLst>
                    <a:gd name="connsiteX0" fmla="*/ 68707 w 90868"/>
                    <a:gd name="connsiteY0" fmla="*/ 0 h 66548"/>
                    <a:gd name="connsiteX1" fmla="*/ 0 w 90868"/>
                    <a:gd name="connsiteY1" fmla="*/ 66548 h 66548"/>
                    <a:gd name="connsiteX2" fmla="*/ 22161 w 90868"/>
                    <a:gd name="connsiteY2" fmla="*/ 66548 h 66548"/>
                    <a:gd name="connsiteX3" fmla="*/ 90868 w 90868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0868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2161" y="66548"/>
                      </a:lnTo>
                      <a:lnTo>
                        <a:pt x="90868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46">
                  <a:extLst>
                    <a:ext uri="{FF2B5EF4-FFF2-40B4-BE49-F238E27FC236}">
                      <a16:creationId xmlns:a16="http://schemas.microsoft.com/office/drawing/2014/main" id="{413F6C73-7AA6-F78F-2D34-861D425F5EFC}"/>
                    </a:ext>
                  </a:extLst>
                </p:cNvPr>
                <p:cNvSpPr/>
                <p:nvPr/>
              </p:nvSpPr>
              <p:spPr>
                <a:xfrm>
                  <a:off x="8651430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: Shape 47">
                  <a:extLst>
                    <a:ext uri="{FF2B5EF4-FFF2-40B4-BE49-F238E27FC236}">
                      <a16:creationId xmlns:a16="http://schemas.microsoft.com/office/drawing/2014/main" id="{41927416-F8E4-B015-A9C0-73EA21589E9F}"/>
                    </a:ext>
                  </a:extLst>
                </p:cNvPr>
                <p:cNvSpPr/>
                <p:nvPr/>
              </p:nvSpPr>
              <p:spPr>
                <a:xfrm>
                  <a:off x="8608885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48">
                  <a:extLst>
                    <a:ext uri="{FF2B5EF4-FFF2-40B4-BE49-F238E27FC236}">
                      <a16:creationId xmlns:a16="http://schemas.microsoft.com/office/drawing/2014/main" id="{876A8016-C16D-DCD0-8DD5-BA18244BB28F}"/>
                    </a:ext>
                  </a:extLst>
                </p:cNvPr>
                <p:cNvSpPr/>
                <p:nvPr/>
              </p:nvSpPr>
              <p:spPr>
                <a:xfrm>
                  <a:off x="8096757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: Shape 49">
                  <a:extLst>
                    <a:ext uri="{FF2B5EF4-FFF2-40B4-BE49-F238E27FC236}">
                      <a16:creationId xmlns:a16="http://schemas.microsoft.com/office/drawing/2014/main" id="{F1514961-2068-07C9-42FD-B104EE69608E}"/>
                    </a:ext>
                  </a:extLst>
                </p:cNvPr>
                <p:cNvSpPr/>
                <p:nvPr/>
              </p:nvSpPr>
              <p:spPr>
                <a:xfrm>
                  <a:off x="801166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50">
                  <a:extLst>
                    <a:ext uri="{FF2B5EF4-FFF2-40B4-BE49-F238E27FC236}">
                      <a16:creationId xmlns:a16="http://schemas.microsoft.com/office/drawing/2014/main" id="{14FBF0A8-A6BA-5CBF-14C2-3E421FEFF66E}"/>
                    </a:ext>
                  </a:extLst>
                </p:cNvPr>
                <p:cNvSpPr/>
                <p:nvPr/>
              </p:nvSpPr>
              <p:spPr>
                <a:xfrm>
                  <a:off x="8054213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: Shape 51">
                  <a:extLst>
                    <a:ext uri="{FF2B5EF4-FFF2-40B4-BE49-F238E27FC236}">
                      <a16:creationId xmlns:a16="http://schemas.microsoft.com/office/drawing/2014/main" id="{03422FE4-2981-109F-BCAD-807E3CD6173B}"/>
                    </a:ext>
                  </a:extLst>
                </p:cNvPr>
                <p:cNvSpPr/>
                <p:nvPr/>
              </p:nvSpPr>
              <p:spPr>
                <a:xfrm>
                  <a:off x="7969122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5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5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: Shape 52">
                  <a:extLst>
                    <a:ext uri="{FF2B5EF4-FFF2-40B4-BE49-F238E27FC236}">
                      <a16:creationId xmlns:a16="http://schemas.microsoft.com/office/drawing/2014/main" id="{E90DF328-C325-9F47-F793-154A7D5D7BB5}"/>
                    </a:ext>
                  </a:extLst>
                </p:cNvPr>
                <p:cNvSpPr/>
                <p:nvPr/>
              </p:nvSpPr>
              <p:spPr>
                <a:xfrm>
                  <a:off x="7926578" y="441451"/>
                  <a:ext cx="89344" cy="66548"/>
                </a:xfrm>
                <a:custGeom>
                  <a:avLst/>
                  <a:gdLst>
                    <a:gd name="connsiteX0" fmla="*/ 68707 w 89344"/>
                    <a:gd name="connsiteY0" fmla="*/ 0 h 66548"/>
                    <a:gd name="connsiteX1" fmla="*/ 0 w 89344"/>
                    <a:gd name="connsiteY1" fmla="*/ 66548 h 66548"/>
                    <a:gd name="connsiteX2" fmla="*/ 20638 w 89344"/>
                    <a:gd name="connsiteY2" fmla="*/ 66548 h 66548"/>
                    <a:gd name="connsiteX3" fmla="*/ 89344 w 89344"/>
                    <a:gd name="connsiteY3" fmla="*/ 0 h 66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344" h="66548">
                      <a:moveTo>
                        <a:pt x="68707" y="0"/>
                      </a:moveTo>
                      <a:lnTo>
                        <a:pt x="0" y="66548"/>
                      </a:lnTo>
                      <a:lnTo>
                        <a:pt x="20638" y="66548"/>
                      </a:lnTo>
                      <a:lnTo>
                        <a:pt x="89344" y="0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82086F27-3796-53D2-7A4F-E42B99A6AF47}"/>
                  </a:ext>
                </a:extLst>
              </p:cNvPr>
              <p:cNvGrpSpPr/>
              <p:nvPr userDrawn="1"/>
            </p:nvGrpSpPr>
            <p:grpSpPr>
              <a:xfrm rot="10800000" flipV="1">
                <a:off x="2780760" y="2715971"/>
                <a:ext cx="53143" cy="379249"/>
                <a:chOff x="5390750" y="3681616"/>
                <a:chExt cx="73151" cy="522033"/>
              </a:xfrm>
            </p:grpSpPr>
            <p:sp>
              <p:nvSpPr>
                <p:cNvPr id="56" name="Freeform: Shape 26">
                  <a:extLst>
                    <a:ext uri="{FF2B5EF4-FFF2-40B4-BE49-F238E27FC236}">
                      <a16:creationId xmlns:a16="http://schemas.microsoft.com/office/drawing/2014/main" id="{007EC7D6-49C3-E77F-2680-34FC98113583}"/>
                    </a:ext>
                  </a:extLst>
                </p:cNvPr>
                <p:cNvSpPr/>
                <p:nvPr/>
              </p:nvSpPr>
              <p:spPr>
                <a:xfrm rot="16200000" flipH="1">
                  <a:off x="5405100" y="3681616"/>
                  <a:ext cx="43688" cy="43687"/>
                </a:xfrm>
                <a:custGeom>
                  <a:avLst/>
                  <a:gdLst>
                    <a:gd name="connsiteX0" fmla="*/ 0 w 43688"/>
                    <a:gd name="connsiteY0" fmla="*/ 0 h 43687"/>
                    <a:gd name="connsiteX1" fmla="*/ 43688 w 43688"/>
                    <a:gd name="connsiteY1" fmla="*/ 0 h 43687"/>
                    <a:gd name="connsiteX2" fmla="*/ 43688 w 43688"/>
                    <a:gd name="connsiteY2" fmla="*/ 43688 h 43687"/>
                    <a:gd name="connsiteX3" fmla="*/ 0 w 43688"/>
                    <a:gd name="connsiteY3" fmla="*/ 43688 h 436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688" h="43687">
                      <a:moveTo>
                        <a:pt x="0" y="0"/>
                      </a:moveTo>
                      <a:lnTo>
                        <a:pt x="43688" y="0"/>
                      </a:lnTo>
                      <a:lnTo>
                        <a:pt x="43688" y="43688"/>
                      </a:lnTo>
                      <a:lnTo>
                        <a:pt x="0" y="43688"/>
                      </a:lnTo>
                      <a:close/>
                    </a:path>
                  </a:pathLst>
                </a:custGeom>
                <a:noFill/>
                <a:ln w="3175" cap="flat">
                  <a:solidFill>
                    <a:schemeClr val="bg1">
                      <a:lumMod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: Shape 27">
                  <a:extLst>
                    <a:ext uri="{FF2B5EF4-FFF2-40B4-BE49-F238E27FC236}">
                      <a16:creationId xmlns:a16="http://schemas.microsoft.com/office/drawing/2014/main" id="{93C2EAC3-FF27-24E8-D7AE-2618243EDCC4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81062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: Shape 28">
                  <a:extLst>
                    <a:ext uri="{FF2B5EF4-FFF2-40B4-BE49-F238E27FC236}">
                      <a16:creationId xmlns:a16="http://schemas.microsoft.com/office/drawing/2014/main" id="{2D73ABC3-D88E-AD24-1702-4E386314F74F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4021394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: Shape 29">
                  <a:extLst>
                    <a:ext uri="{FF2B5EF4-FFF2-40B4-BE49-F238E27FC236}">
                      <a16:creationId xmlns:a16="http://schemas.microsoft.com/office/drawing/2014/main" id="{9A6D17DB-3144-73DF-5BC0-3E0FAAC02176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02056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: Shape 30">
                  <a:extLst>
                    <a:ext uri="{FF2B5EF4-FFF2-40B4-BE49-F238E27FC236}">
                      <a16:creationId xmlns:a16="http://schemas.microsoft.com/office/drawing/2014/main" id="{FAB2A645-FB55-58EF-D59E-7D0D43DD40AC}"/>
                    </a:ext>
                  </a:extLst>
                </p:cNvPr>
                <p:cNvSpPr/>
                <p:nvPr/>
              </p:nvSpPr>
              <p:spPr>
                <a:xfrm rot="10800000" flipH="1">
                  <a:off x="5407069" y="4165549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: Shape 31">
                  <a:extLst>
                    <a:ext uri="{FF2B5EF4-FFF2-40B4-BE49-F238E27FC236}">
                      <a16:creationId xmlns:a16="http://schemas.microsoft.com/office/drawing/2014/main" id="{573C44F1-EA25-C85C-5D5B-F7B4D25592C5}"/>
                    </a:ext>
                  </a:extLst>
                </p:cNvPr>
                <p:cNvSpPr/>
                <p:nvPr/>
              </p:nvSpPr>
              <p:spPr>
                <a:xfrm rot="16200000" flipH="1">
                  <a:off x="5407387" y="3776295"/>
                  <a:ext cx="39878" cy="73151"/>
                </a:xfrm>
                <a:custGeom>
                  <a:avLst/>
                  <a:gdLst>
                    <a:gd name="connsiteX0" fmla="*/ 39878 w 39878"/>
                    <a:gd name="connsiteY0" fmla="*/ 38671 h 73151"/>
                    <a:gd name="connsiteX1" fmla="*/ 2413 w 39878"/>
                    <a:gd name="connsiteY1" fmla="*/ 73152 h 73151"/>
                    <a:gd name="connsiteX2" fmla="*/ 0 w 39878"/>
                    <a:gd name="connsiteY2" fmla="*/ 69913 h 73151"/>
                    <a:gd name="connsiteX3" fmla="*/ 36131 w 39878"/>
                    <a:gd name="connsiteY3" fmla="*/ 36576 h 73151"/>
                    <a:gd name="connsiteX4" fmla="*/ 0 w 39878"/>
                    <a:gd name="connsiteY4" fmla="*/ 3238 h 73151"/>
                    <a:gd name="connsiteX5" fmla="*/ 2413 w 39878"/>
                    <a:gd name="connsiteY5" fmla="*/ 0 h 73151"/>
                    <a:gd name="connsiteX6" fmla="*/ 39878 w 39878"/>
                    <a:gd name="connsiteY6" fmla="*/ 34481 h 73151"/>
                    <a:gd name="connsiteX7" fmla="*/ 39878 w 39878"/>
                    <a:gd name="connsiteY7" fmla="*/ 38671 h 73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878" h="73151">
                      <a:moveTo>
                        <a:pt x="39878" y="38671"/>
                      </a:moveTo>
                      <a:lnTo>
                        <a:pt x="2413" y="73152"/>
                      </a:lnTo>
                      <a:lnTo>
                        <a:pt x="0" y="69913"/>
                      </a:lnTo>
                      <a:lnTo>
                        <a:pt x="36131" y="36576"/>
                      </a:lnTo>
                      <a:lnTo>
                        <a:pt x="0" y="3238"/>
                      </a:lnTo>
                      <a:lnTo>
                        <a:pt x="2413" y="0"/>
                      </a:lnTo>
                      <a:lnTo>
                        <a:pt x="39878" y="34481"/>
                      </a:lnTo>
                      <a:lnTo>
                        <a:pt x="39878" y="3867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: Shape 32">
                  <a:extLst>
                    <a:ext uri="{FF2B5EF4-FFF2-40B4-BE49-F238E27FC236}">
                      <a16:creationId xmlns:a16="http://schemas.microsoft.com/office/drawing/2014/main" id="{999EF71C-D366-A42B-5BDC-142563B83178}"/>
                    </a:ext>
                  </a:extLst>
                </p:cNvPr>
                <p:cNvSpPr/>
                <p:nvPr/>
              </p:nvSpPr>
              <p:spPr>
                <a:xfrm rot="16200000" flipH="1">
                  <a:off x="5426469" y="3961725"/>
                  <a:ext cx="4381" cy="41656"/>
                </a:xfrm>
                <a:custGeom>
                  <a:avLst/>
                  <a:gdLst>
                    <a:gd name="connsiteX0" fmla="*/ 0 w 4381"/>
                    <a:gd name="connsiteY0" fmla="*/ 0 h 41656"/>
                    <a:gd name="connsiteX1" fmla="*/ 4381 w 4381"/>
                    <a:gd name="connsiteY1" fmla="*/ 0 h 41656"/>
                    <a:gd name="connsiteX2" fmla="*/ 4381 w 4381"/>
                    <a:gd name="connsiteY2" fmla="*/ 41656 h 41656"/>
                    <a:gd name="connsiteX3" fmla="*/ 0 w 4381"/>
                    <a:gd name="connsiteY3" fmla="*/ 41656 h 41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381" h="41656">
                      <a:moveTo>
                        <a:pt x="0" y="0"/>
                      </a:moveTo>
                      <a:lnTo>
                        <a:pt x="4381" y="0"/>
                      </a:lnTo>
                      <a:lnTo>
                        <a:pt x="4381" y="41656"/>
                      </a:lnTo>
                      <a:lnTo>
                        <a:pt x="0" y="4165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0867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  <a:latin typeface="PTCRaleway" panose="020B05030301010600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E9334C02-A525-26DF-BFBB-C169D9E1280D}"/>
                </a:ext>
              </a:extLst>
            </p:cNvPr>
            <p:cNvSpPr/>
            <p:nvPr userDrawn="1"/>
          </p:nvSpPr>
          <p:spPr>
            <a:xfrm>
              <a:off x="862265" y="1612232"/>
              <a:ext cx="2224760" cy="4162926"/>
            </a:xfrm>
            <a:custGeom>
              <a:avLst/>
              <a:gdLst>
                <a:gd name="connsiteX0" fmla="*/ 0 w 2317531"/>
                <a:gd name="connsiteY0" fmla="*/ 0 h 4193627"/>
                <a:gd name="connsiteX1" fmla="*/ 1923393 w 2317531"/>
                <a:gd name="connsiteY1" fmla="*/ 0 h 4193627"/>
                <a:gd name="connsiteX2" fmla="*/ 2317531 w 2317531"/>
                <a:gd name="connsiteY2" fmla="*/ 394138 h 4193627"/>
                <a:gd name="connsiteX3" fmla="*/ 2317531 w 2317531"/>
                <a:gd name="connsiteY3" fmla="*/ 4193627 h 4193627"/>
                <a:gd name="connsiteX4" fmla="*/ 2104696 w 2317531"/>
                <a:gd name="connsiteY4" fmla="*/ 4193627 h 4193627"/>
                <a:gd name="connsiteX5" fmla="*/ 23648 w 2317531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302286 w 2302286"/>
                <a:gd name="connsiteY2" fmla="*/ 39413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1 w 2302286"/>
                <a:gd name="connsiteY2" fmla="*/ 352451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7872 w 2302286"/>
                <a:gd name="connsiteY2" fmla="*/ 366347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5 w 2302286"/>
                <a:gd name="connsiteY2" fmla="*/ 352452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08148 w 2302286"/>
                <a:gd name="connsiteY1" fmla="*/ 0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80606 w 2302286"/>
                <a:gd name="connsiteY2" fmla="*/ 359400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898743 w 2302286"/>
                <a:gd name="connsiteY1" fmla="*/ 2259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1202 w 2302286"/>
                <a:gd name="connsiteY2" fmla="*/ 366178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64230 w 2302286"/>
                <a:gd name="connsiteY2" fmla="*/ 498136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302286"/>
                <a:gd name="connsiteY0" fmla="*/ 0 h 4193627"/>
                <a:gd name="connsiteX1" fmla="*/ 1954513 w 2302286"/>
                <a:gd name="connsiteY1" fmla="*/ 7757 h 4193627"/>
                <a:gd name="connsiteX2" fmla="*/ 2274687 w 2302286"/>
                <a:gd name="connsiteY2" fmla="*/ 503634 h 4193627"/>
                <a:gd name="connsiteX3" fmla="*/ 2302286 w 2302286"/>
                <a:gd name="connsiteY3" fmla="*/ 4193627 h 4193627"/>
                <a:gd name="connsiteX4" fmla="*/ 2089451 w 2302286"/>
                <a:gd name="connsiteY4" fmla="*/ 4193627 h 4193627"/>
                <a:gd name="connsiteX5" fmla="*/ 8403 w 2302286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954513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4687 w 2291829"/>
                <a:gd name="connsiteY2" fmla="*/ 50363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10164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2003311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9997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88884 w 2291829"/>
                <a:gd name="connsiteY1" fmla="*/ 7757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68239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38210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0 h 4193627"/>
                <a:gd name="connsiteX1" fmla="*/ 1849471 w 2291829"/>
                <a:gd name="connsiteY1" fmla="*/ 4796 h 4193627"/>
                <a:gd name="connsiteX2" fmla="*/ 2271201 w 2291829"/>
                <a:gd name="connsiteY2" fmla="*/ 426659 h 4193627"/>
                <a:gd name="connsiteX3" fmla="*/ 2291829 w 2291829"/>
                <a:gd name="connsiteY3" fmla="*/ 4193627 h 4193627"/>
                <a:gd name="connsiteX4" fmla="*/ 2089451 w 2291829"/>
                <a:gd name="connsiteY4" fmla="*/ 4193627 h 4193627"/>
                <a:gd name="connsiteX5" fmla="*/ 8403 w 2291829"/>
                <a:gd name="connsiteY5" fmla="*/ 4193627 h 4193627"/>
                <a:gd name="connsiteX0" fmla="*/ 0 w 2291829"/>
                <a:gd name="connsiteY0" fmla="*/ 7046 h 4200673"/>
                <a:gd name="connsiteX1" fmla="*/ 1856979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1817330 w 2291829"/>
                <a:gd name="connsiteY1" fmla="*/ 0 h 4200673"/>
                <a:gd name="connsiteX2" fmla="*/ 2271201 w 2291829"/>
                <a:gd name="connsiteY2" fmla="*/ 433705 h 4200673"/>
                <a:gd name="connsiteX3" fmla="*/ 2291829 w 2291829"/>
                <a:gd name="connsiteY3" fmla="*/ 4200673 h 4200673"/>
                <a:gd name="connsiteX4" fmla="*/ 2089451 w 2291829"/>
                <a:gd name="connsiteY4" fmla="*/ 4200673 h 4200673"/>
                <a:gd name="connsiteX5" fmla="*/ 8403 w 2291829"/>
                <a:gd name="connsiteY5" fmla="*/ 4200673 h 4200673"/>
                <a:gd name="connsiteX0" fmla="*/ 0 w 2291829"/>
                <a:gd name="connsiteY0" fmla="*/ 7046 h 4200673"/>
                <a:gd name="connsiteX1" fmla="*/ 579941 w 2291829"/>
                <a:gd name="connsiteY1" fmla="*/ 8817 h 4200673"/>
                <a:gd name="connsiteX2" fmla="*/ 1817330 w 2291829"/>
                <a:gd name="connsiteY2" fmla="*/ 0 h 4200673"/>
                <a:gd name="connsiteX3" fmla="*/ 2271201 w 2291829"/>
                <a:gd name="connsiteY3" fmla="*/ 433705 h 4200673"/>
                <a:gd name="connsiteX4" fmla="*/ 2291829 w 2291829"/>
                <a:gd name="connsiteY4" fmla="*/ 4200673 h 4200673"/>
                <a:gd name="connsiteX5" fmla="*/ 2089451 w 2291829"/>
                <a:gd name="connsiteY5" fmla="*/ 4200673 h 4200673"/>
                <a:gd name="connsiteX6" fmla="*/ 8403 w 2291829"/>
                <a:gd name="connsiteY6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0 w 2283426"/>
                <a:gd name="connsiteY5" fmla="*/ 4200673 h 4200673"/>
                <a:gd name="connsiteX0" fmla="*/ 571538 w 2283426"/>
                <a:gd name="connsiteY0" fmla="*/ 8817 h 4200673"/>
                <a:gd name="connsiteX1" fmla="*/ 1808927 w 2283426"/>
                <a:gd name="connsiteY1" fmla="*/ 0 h 4200673"/>
                <a:gd name="connsiteX2" fmla="*/ 2262798 w 2283426"/>
                <a:gd name="connsiteY2" fmla="*/ 433705 h 4200673"/>
                <a:gd name="connsiteX3" fmla="*/ 2283426 w 2283426"/>
                <a:gd name="connsiteY3" fmla="*/ 4200673 h 4200673"/>
                <a:gd name="connsiteX4" fmla="*/ 2081048 w 2283426"/>
                <a:gd name="connsiteY4" fmla="*/ 4200673 h 4200673"/>
                <a:gd name="connsiteX5" fmla="*/ 539006 w 2283426"/>
                <a:gd name="connsiteY5" fmla="*/ 4196286 h 4200673"/>
                <a:gd name="connsiteX6" fmla="*/ 0 w 2283426"/>
                <a:gd name="connsiteY6" fmla="*/ 4200673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0 w 1744420"/>
                <a:gd name="connsiteY5" fmla="*/ 4196286 h 4200673"/>
                <a:gd name="connsiteX0" fmla="*/ 32532 w 1744420"/>
                <a:gd name="connsiteY0" fmla="*/ 8817 h 4200673"/>
                <a:gd name="connsiteX1" fmla="*/ 1269921 w 1744420"/>
                <a:gd name="connsiteY1" fmla="*/ 0 h 4200673"/>
                <a:gd name="connsiteX2" fmla="*/ 1723792 w 1744420"/>
                <a:gd name="connsiteY2" fmla="*/ 433705 h 4200673"/>
                <a:gd name="connsiteX3" fmla="*/ 1744420 w 1744420"/>
                <a:gd name="connsiteY3" fmla="*/ 4200673 h 4200673"/>
                <a:gd name="connsiteX4" fmla="*/ 1542042 w 1744420"/>
                <a:gd name="connsiteY4" fmla="*/ 4200673 h 4200673"/>
                <a:gd name="connsiteX5" fmla="*/ 23716 w 1744420"/>
                <a:gd name="connsiteY5" fmla="*/ 4199431 h 4200673"/>
                <a:gd name="connsiteX6" fmla="*/ 0 w 1744420"/>
                <a:gd name="connsiteY6" fmla="*/ 4196286 h 4200673"/>
                <a:gd name="connsiteX0" fmla="*/ 8816 w 1720704"/>
                <a:gd name="connsiteY0" fmla="*/ 8817 h 4200673"/>
                <a:gd name="connsiteX1" fmla="*/ 1246205 w 1720704"/>
                <a:gd name="connsiteY1" fmla="*/ 0 h 4200673"/>
                <a:gd name="connsiteX2" fmla="*/ 1700076 w 1720704"/>
                <a:gd name="connsiteY2" fmla="*/ 433705 h 4200673"/>
                <a:gd name="connsiteX3" fmla="*/ 1720704 w 1720704"/>
                <a:gd name="connsiteY3" fmla="*/ 4200673 h 4200673"/>
                <a:gd name="connsiteX4" fmla="*/ 1518326 w 1720704"/>
                <a:gd name="connsiteY4" fmla="*/ 4200673 h 4200673"/>
                <a:gd name="connsiteX5" fmla="*/ 0 w 1720704"/>
                <a:gd name="connsiteY5" fmla="*/ 4199431 h 4200673"/>
                <a:gd name="connsiteX0" fmla="*/ 102 w 1720704"/>
                <a:gd name="connsiteY0" fmla="*/ 0 h 4202853"/>
                <a:gd name="connsiteX1" fmla="*/ 1246205 w 1720704"/>
                <a:gd name="connsiteY1" fmla="*/ 2180 h 4202853"/>
                <a:gd name="connsiteX2" fmla="*/ 1700076 w 1720704"/>
                <a:gd name="connsiteY2" fmla="*/ 435885 h 4202853"/>
                <a:gd name="connsiteX3" fmla="*/ 1720704 w 1720704"/>
                <a:gd name="connsiteY3" fmla="*/ 4202853 h 4202853"/>
                <a:gd name="connsiteX4" fmla="*/ 1518326 w 1720704"/>
                <a:gd name="connsiteY4" fmla="*/ 4202853 h 4202853"/>
                <a:gd name="connsiteX5" fmla="*/ 0 w 1720704"/>
                <a:gd name="connsiteY5" fmla="*/ 4201611 h 4202853"/>
                <a:gd name="connsiteX0" fmla="*/ 102 w 1720704"/>
                <a:gd name="connsiteY0" fmla="*/ 0 h 4202853"/>
                <a:gd name="connsiteX1" fmla="*/ 212558 w 1720704"/>
                <a:gd name="connsiteY1" fmla="*/ 1544 h 4202853"/>
                <a:gd name="connsiteX2" fmla="*/ 1246205 w 1720704"/>
                <a:gd name="connsiteY2" fmla="*/ 2180 h 4202853"/>
                <a:gd name="connsiteX3" fmla="*/ 1700076 w 1720704"/>
                <a:gd name="connsiteY3" fmla="*/ 435885 h 4202853"/>
                <a:gd name="connsiteX4" fmla="*/ 1720704 w 1720704"/>
                <a:gd name="connsiteY4" fmla="*/ 4202853 h 4202853"/>
                <a:gd name="connsiteX5" fmla="*/ 1518326 w 1720704"/>
                <a:gd name="connsiteY5" fmla="*/ 4202853 h 4202853"/>
                <a:gd name="connsiteX6" fmla="*/ 0 w 1720704"/>
                <a:gd name="connsiteY6" fmla="*/ 4201611 h 4202853"/>
                <a:gd name="connsiteX0" fmla="*/ 212558 w 1720704"/>
                <a:gd name="connsiteY0" fmla="*/ 0 h 4201309"/>
                <a:gd name="connsiteX1" fmla="*/ 1246205 w 1720704"/>
                <a:gd name="connsiteY1" fmla="*/ 636 h 4201309"/>
                <a:gd name="connsiteX2" fmla="*/ 1700076 w 1720704"/>
                <a:gd name="connsiteY2" fmla="*/ 434341 h 4201309"/>
                <a:gd name="connsiteX3" fmla="*/ 1720704 w 1720704"/>
                <a:gd name="connsiteY3" fmla="*/ 4201309 h 4201309"/>
                <a:gd name="connsiteX4" fmla="*/ 1518326 w 1720704"/>
                <a:gd name="connsiteY4" fmla="*/ 4201309 h 4201309"/>
                <a:gd name="connsiteX5" fmla="*/ 0 w 1720704"/>
                <a:gd name="connsiteY5" fmla="*/ 4200067 h 4201309"/>
                <a:gd name="connsiteX0" fmla="*/ 212558 w 1720704"/>
                <a:gd name="connsiteY0" fmla="*/ 0 h 4205294"/>
                <a:gd name="connsiteX1" fmla="*/ 1246205 w 1720704"/>
                <a:gd name="connsiteY1" fmla="*/ 636 h 4205294"/>
                <a:gd name="connsiteX2" fmla="*/ 1700076 w 1720704"/>
                <a:gd name="connsiteY2" fmla="*/ 434341 h 4205294"/>
                <a:gd name="connsiteX3" fmla="*/ 1720704 w 1720704"/>
                <a:gd name="connsiteY3" fmla="*/ 4201309 h 4205294"/>
                <a:gd name="connsiteX4" fmla="*/ 1518326 w 1720704"/>
                <a:gd name="connsiteY4" fmla="*/ 4201309 h 4205294"/>
                <a:gd name="connsiteX5" fmla="*/ 217694 w 1720704"/>
                <a:gd name="connsiteY5" fmla="*/ 4205294 h 4205294"/>
                <a:gd name="connsiteX6" fmla="*/ 0 w 1720704"/>
                <a:gd name="connsiteY6" fmla="*/ 4200067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305768 w 1508146"/>
                <a:gd name="connsiteY4" fmla="*/ 4201309 h 4205294"/>
                <a:gd name="connsiteX5" fmla="*/ 5136 w 1508146"/>
                <a:gd name="connsiteY5" fmla="*/ 4205294 h 4205294"/>
                <a:gd name="connsiteX0" fmla="*/ 0 w 1508146"/>
                <a:gd name="connsiteY0" fmla="*/ 0 h 4205294"/>
                <a:gd name="connsiteX1" fmla="*/ 1033647 w 1508146"/>
                <a:gd name="connsiteY1" fmla="*/ 636 h 4205294"/>
                <a:gd name="connsiteX2" fmla="*/ 1487518 w 1508146"/>
                <a:gd name="connsiteY2" fmla="*/ 434341 h 4205294"/>
                <a:gd name="connsiteX3" fmla="*/ 1508146 w 1508146"/>
                <a:gd name="connsiteY3" fmla="*/ 4201309 h 4205294"/>
                <a:gd name="connsiteX4" fmla="*/ 1424134 w 1508146"/>
                <a:gd name="connsiteY4" fmla="*/ 4202255 h 4205294"/>
                <a:gd name="connsiteX5" fmla="*/ 1305768 w 1508146"/>
                <a:gd name="connsiteY5" fmla="*/ 4201309 h 4205294"/>
                <a:gd name="connsiteX6" fmla="*/ 5136 w 1508146"/>
                <a:gd name="connsiteY6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87518 w 1509361"/>
                <a:gd name="connsiteY2" fmla="*/ 434341 h 4205294"/>
                <a:gd name="connsiteX3" fmla="*/ 1424134 w 1509361"/>
                <a:gd name="connsiteY3" fmla="*/ 4202255 h 4205294"/>
                <a:gd name="connsiteX4" fmla="*/ 1305768 w 1509361"/>
                <a:gd name="connsiteY4" fmla="*/ 4201309 h 4205294"/>
                <a:gd name="connsiteX5" fmla="*/ 5136 w 1509361"/>
                <a:gd name="connsiteY5" fmla="*/ 4205294 h 4205294"/>
                <a:gd name="connsiteX0" fmla="*/ 0 w 1509361"/>
                <a:gd name="connsiteY0" fmla="*/ 0 h 4205294"/>
                <a:gd name="connsiteX1" fmla="*/ 1033647 w 1509361"/>
                <a:gd name="connsiteY1" fmla="*/ 636 h 4205294"/>
                <a:gd name="connsiteX2" fmla="*/ 1422915 w 1509361"/>
                <a:gd name="connsiteY2" fmla="*/ 376572 h 4205294"/>
                <a:gd name="connsiteX3" fmla="*/ 1487518 w 1509361"/>
                <a:gd name="connsiteY3" fmla="*/ 434341 h 4205294"/>
                <a:gd name="connsiteX4" fmla="*/ 1424134 w 1509361"/>
                <a:gd name="connsiteY4" fmla="*/ 4202255 h 4205294"/>
                <a:gd name="connsiteX5" fmla="*/ 1305768 w 1509361"/>
                <a:gd name="connsiteY5" fmla="*/ 4201309 h 4205294"/>
                <a:gd name="connsiteX6" fmla="*/ 5136 w 1509361"/>
                <a:gd name="connsiteY6" fmla="*/ 4205294 h 4205294"/>
                <a:gd name="connsiteX0" fmla="*/ 0 w 1457094"/>
                <a:gd name="connsiteY0" fmla="*/ 50479 h 4255773"/>
                <a:gd name="connsiteX1" fmla="*/ 1033647 w 1457094"/>
                <a:gd name="connsiteY1" fmla="*/ 51115 h 4255773"/>
                <a:gd name="connsiteX2" fmla="*/ 1422915 w 1457094"/>
                <a:gd name="connsiteY2" fmla="*/ 427051 h 4255773"/>
                <a:gd name="connsiteX3" fmla="*/ 1424134 w 1457094"/>
                <a:gd name="connsiteY3" fmla="*/ 4252734 h 4255773"/>
                <a:gd name="connsiteX4" fmla="*/ 1305768 w 1457094"/>
                <a:gd name="connsiteY4" fmla="*/ 4251788 h 4255773"/>
                <a:gd name="connsiteX5" fmla="*/ 5136 w 1457094"/>
                <a:gd name="connsiteY5" fmla="*/ 4255773 h 4255773"/>
                <a:gd name="connsiteX0" fmla="*/ 0 w 1432100"/>
                <a:gd name="connsiteY0" fmla="*/ 50479 h 4255773"/>
                <a:gd name="connsiteX1" fmla="*/ 1033647 w 1432100"/>
                <a:gd name="connsiteY1" fmla="*/ 51115 h 4255773"/>
                <a:gd name="connsiteX2" fmla="*/ 1422915 w 1432100"/>
                <a:gd name="connsiteY2" fmla="*/ 427051 h 4255773"/>
                <a:gd name="connsiteX3" fmla="*/ 1424134 w 1432100"/>
                <a:gd name="connsiteY3" fmla="*/ 4252734 h 4255773"/>
                <a:gd name="connsiteX4" fmla="*/ 1305768 w 1432100"/>
                <a:gd name="connsiteY4" fmla="*/ 4251788 h 4255773"/>
                <a:gd name="connsiteX5" fmla="*/ 5136 w 1432100"/>
                <a:gd name="connsiteY5" fmla="*/ 4255773 h 4255773"/>
                <a:gd name="connsiteX0" fmla="*/ 0 w 1434720"/>
                <a:gd name="connsiteY0" fmla="*/ 50479 h 4255773"/>
                <a:gd name="connsiteX1" fmla="*/ 1033647 w 1434720"/>
                <a:gd name="connsiteY1" fmla="*/ 51115 h 4255773"/>
                <a:gd name="connsiteX2" fmla="*/ 1422915 w 1434720"/>
                <a:gd name="connsiteY2" fmla="*/ 427051 h 4255773"/>
                <a:gd name="connsiteX3" fmla="*/ 1424134 w 1434720"/>
                <a:gd name="connsiteY3" fmla="*/ 4252734 h 4255773"/>
                <a:gd name="connsiteX4" fmla="*/ 1305768 w 1434720"/>
                <a:gd name="connsiteY4" fmla="*/ 4251788 h 4255773"/>
                <a:gd name="connsiteX5" fmla="*/ 5136 w 1434720"/>
                <a:gd name="connsiteY5" fmla="*/ 4255773 h 4255773"/>
                <a:gd name="connsiteX0" fmla="*/ 0 w 1432860"/>
                <a:gd name="connsiteY0" fmla="*/ 50479 h 4255773"/>
                <a:gd name="connsiteX1" fmla="*/ 1033647 w 1432860"/>
                <a:gd name="connsiteY1" fmla="*/ 51115 h 4255773"/>
                <a:gd name="connsiteX2" fmla="*/ 1422915 w 1432860"/>
                <a:gd name="connsiteY2" fmla="*/ 427051 h 4255773"/>
                <a:gd name="connsiteX3" fmla="*/ 1424134 w 1432860"/>
                <a:gd name="connsiteY3" fmla="*/ 4252734 h 4255773"/>
                <a:gd name="connsiteX4" fmla="*/ 1305768 w 1432860"/>
                <a:gd name="connsiteY4" fmla="*/ 4251788 h 4255773"/>
                <a:gd name="connsiteX5" fmla="*/ 5136 w 1432860"/>
                <a:gd name="connsiteY5" fmla="*/ 4255773 h 4255773"/>
                <a:gd name="connsiteX0" fmla="*/ 0 w 1424727"/>
                <a:gd name="connsiteY0" fmla="*/ 50479 h 4255773"/>
                <a:gd name="connsiteX1" fmla="*/ 1033647 w 1424727"/>
                <a:gd name="connsiteY1" fmla="*/ 51115 h 4255773"/>
                <a:gd name="connsiteX2" fmla="*/ 1422915 w 1424727"/>
                <a:gd name="connsiteY2" fmla="*/ 427051 h 4255773"/>
                <a:gd name="connsiteX3" fmla="*/ 1424134 w 1424727"/>
                <a:gd name="connsiteY3" fmla="*/ 4252734 h 4255773"/>
                <a:gd name="connsiteX4" fmla="*/ 1305768 w 1424727"/>
                <a:gd name="connsiteY4" fmla="*/ 4251788 h 4255773"/>
                <a:gd name="connsiteX5" fmla="*/ 5136 w 1424727"/>
                <a:gd name="connsiteY5" fmla="*/ 4255773 h 4255773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  <a:gd name="connsiteX0" fmla="*/ 0 w 1424727"/>
                <a:gd name="connsiteY0" fmla="*/ 0 h 4205294"/>
                <a:gd name="connsiteX1" fmla="*/ 1033647 w 1424727"/>
                <a:gd name="connsiteY1" fmla="*/ 636 h 4205294"/>
                <a:gd name="connsiteX2" fmla="*/ 1422915 w 1424727"/>
                <a:gd name="connsiteY2" fmla="*/ 376572 h 4205294"/>
                <a:gd name="connsiteX3" fmla="*/ 1424134 w 1424727"/>
                <a:gd name="connsiteY3" fmla="*/ 4202255 h 4205294"/>
                <a:gd name="connsiteX4" fmla="*/ 1305768 w 1424727"/>
                <a:gd name="connsiteY4" fmla="*/ 4201309 h 4205294"/>
                <a:gd name="connsiteX5" fmla="*/ 5136 w 1424727"/>
                <a:gd name="connsiteY5" fmla="*/ 4205294 h 420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4727" h="4205294">
                  <a:moveTo>
                    <a:pt x="0" y="0"/>
                  </a:moveTo>
                  <a:lnTo>
                    <a:pt x="1033647" y="636"/>
                  </a:lnTo>
                  <a:cubicBezTo>
                    <a:pt x="1263479" y="213500"/>
                    <a:pt x="1167521" y="115063"/>
                    <a:pt x="1422915" y="376572"/>
                  </a:cubicBezTo>
                  <a:cubicBezTo>
                    <a:pt x="1424558" y="1178834"/>
                    <a:pt x="1425359" y="3578270"/>
                    <a:pt x="1424134" y="4202255"/>
                  </a:cubicBezTo>
                  <a:lnTo>
                    <a:pt x="1305768" y="4201309"/>
                  </a:lnTo>
                  <a:lnTo>
                    <a:pt x="5136" y="4205294"/>
                  </a:lnTo>
                </a:path>
              </a:pathLst>
            </a:custGeom>
            <a:noFill/>
            <a:ln w="9525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>
                <a:buFontTx/>
                <a:buNone/>
              </a:pPr>
              <a:endParaRPr lang="en-US" dirty="0"/>
            </a:p>
          </p:txBody>
        </p:sp>
      </p:grpSp>
      <p:sp>
        <p:nvSpPr>
          <p:cNvPr id="97" name="Picture Placeholder 2">
            <a:extLst>
              <a:ext uri="{FF2B5EF4-FFF2-40B4-BE49-F238E27FC236}">
                <a16:creationId xmlns:a16="http://schemas.microsoft.com/office/drawing/2014/main" id="{D444B835-2C90-59D4-8A91-1D36BBF20B11}"/>
              </a:ext>
            </a:extLst>
          </p:cNvPr>
          <p:cNvSpPr>
            <a:spLocks noGrp="1"/>
          </p:cNvSpPr>
          <p:nvPr>
            <p:ph type="pic" idx="36" hasCustomPrompt="1"/>
          </p:nvPr>
        </p:nvSpPr>
        <p:spPr>
          <a:xfrm>
            <a:off x="6616304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6CBC48FF-4255-EE45-B7B0-ECB043E444FB}"/>
              </a:ext>
            </a:extLst>
          </p:cNvPr>
          <p:cNvCxnSpPr>
            <a:cxnSpLocks/>
          </p:cNvCxnSpPr>
          <p:nvPr userDrawn="1"/>
        </p:nvCxnSpPr>
        <p:spPr>
          <a:xfrm>
            <a:off x="864207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B9E6072C-BEA6-41B6-210C-D1D16F41401C}"/>
              </a:ext>
            </a:extLst>
          </p:cNvPr>
          <p:cNvCxnSpPr>
            <a:cxnSpLocks/>
          </p:cNvCxnSpPr>
          <p:nvPr userDrawn="1"/>
        </p:nvCxnSpPr>
        <p:spPr>
          <a:xfrm>
            <a:off x="3746324" y="5585531"/>
            <a:ext cx="0" cy="181971"/>
          </a:xfrm>
          <a:prstGeom prst="line">
            <a:avLst/>
          </a:prstGeom>
          <a:ln w="9525" cap="sq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6F25117A-C96A-767C-57F6-12199054FD2A}"/>
              </a:ext>
            </a:extLst>
          </p:cNvPr>
          <p:cNvGrpSpPr/>
          <p:nvPr userDrawn="1"/>
        </p:nvGrpSpPr>
        <p:grpSpPr>
          <a:xfrm>
            <a:off x="6603439" y="1612232"/>
            <a:ext cx="2338382" cy="4162926"/>
            <a:chOff x="6603439" y="1612232"/>
            <a:chExt cx="2338382" cy="4162926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B3919971-5242-DEC6-E44A-113A5A0E88CF}"/>
                </a:ext>
              </a:extLst>
            </p:cNvPr>
            <p:cNvGrpSpPr/>
            <p:nvPr userDrawn="1"/>
          </p:nvGrpSpPr>
          <p:grpSpPr>
            <a:xfrm>
              <a:off x="6603439" y="1612232"/>
              <a:ext cx="2338382" cy="4162926"/>
              <a:chOff x="862265" y="1612232"/>
              <a:chExt cx="2338382" cy="4162926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CE4E7000-6C6C-0255-BF4A-C21E26617D81}"/>
                  </a:ext>
                </a:extLst>
              </p:cNvPr>
              <p:cNvGrpSpPr/>
              <p:nvPr userDrawn="1"/>
            </p:nvGrpSpPr>
            <p:grpSpPr>
              <a:xfrm>
                <a:off x="3147504" y="2061539"/>
                <a:ext cx="53143" cy="1085389"/>
                <a:chOff x="2780760" y="2009831"/>
                <a:chExt cx="53143" cy="1085389"/>
              </a:xfrm>
            </p:grpSpPr>
            <p:grpSp>
              <p:nvGrpSpPr>
                <p:cNvPr id="101" name="Graphic 42">
                  <a:extLst>
                    <a:ext uri="{FF2B5EF4-FFF2-40B4-BE49-F238E27FC236}">
                      <a16:creationId xmlns:a16="http://schemas.microsoft.com/office/drawing/2014/main" id="{C93DC850-0E56-AF21-E227-30E3A511A41B}"/>
                    </a:ext>
                  </a:extLst>
                </p:cNvPr>
                <p:cNvGrpSpPr/>
                <p:nvPr userDrawn="1"/>
              </p:nvGrpSpPr>
              <p:grpSpPr>
                <a:xfrm rot="16200000" flipH="1" flipV="1">
                  <a:off x="2482218" y="2310772"/>
                  <a:ext cx="650227" cy="48346"/>
                  <a:chOff x="7926578" y="441451"/>
                  <a:chExt cx="895032" cy="66548"/>
                </a:xfrm>
                <a:solidFill>
                  <a:srgbClr val="75BF43">
                    <a:alpha val="57000"/>
                  </a:srgbClr>
                </a:solidFill>
              </p:grpSpPr>
              <p:sp>
                <p:nvSpPr>
                  <p:cNvPr id="110" name="Freeform: Shape 33">
                    <a:extLst>
                      <a:ext uri="{FF2B5EF4-FFF2-40B4-BE49-F238E27FC236}">
                        <a16:creationId xmlns:a16="http://schemas.microsoft.com/office/drawing/2014/main" id="{BF73F5A6-9BB1-6549-CCCC-A13044F7850A}"/>
                      </a:ext>
                    </a:extLst>
                  </p:cNvPr>
                  <p:cNvSpPr/>
                  <p:nvPr/>
                </p:nvSpPr>
                <p:spPr>
                  <a:xfrm>
                    <a:off x="8479726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1" name="Freeform: Shape 34">
                    <a:extLst>
                      <a:ext uri="{FF2B5EF4-FFF2-40B4-BE49-F238E27FC236}">
                        <a16:creationId xmlns:a16="http://schemas.microsoft.com/office/drawing/2014/main" id="{44DDAEEF-45F1-E03A-E5CE-A8F6A7E64C16}"/>
                      </a:ext>
                    </a:extLst>
                  </p:cNvPr>
                  <p:cNvSpPr/>
                  <p:nvPr/>
                </p:nvSpPr>
                <p:spPr>
                  <a:xfrm>
                    <a:off x="843718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2" name="Freeform: Shape 35">
                    <a:extLst>
                      <a:ext uri="{FF2B5EF4-FFF2-40B4-BE49-F238E27FC236}">
                        <a16:creationId xmlns:a16="http://schemas.microsoft.com/office/drawing/2014/main" id="{A9252D01-81AC-DBA3-7D7E-0F7268A277D6}"/>
                      </a:ext>
                    </a:extLst>
                  </p:cNvPr>
                  <p:cNvSpPr/>
                  <p:nvPr/>
                </p:nvSpPr>
                <p:spPr>
                  <a:xfrm>
                    <a:off x="8394636" y="441451"/>
                    <a:ext cx="89281" cy="66548"/>
                  </a:xfrm>
                  <a:custGeom>
                    <a:avLst/>
                    <a:gdLst>
                      <a:gd name="connsiteX0" fmla="*/ 68707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3" name="Freeform: Shape 36">
                    <a:extLst>
                      <a:ext uri="{FF2B5EF4-FFF2-40B4-BE49-F238E27FC236}">
                        <a16:creationId xmlns:a16="http://schemas.microsoft.com/office/drawing/2014/main" id="{A8AD8A7D-FFBC-DD50-8690-8B36D328A692}"/>
                      </a:ext>
                    </a:extLst>
                  </p:cNvPr>
                  <p:cNvSpPr/>
                  <p:nvPr/>
                </p:nvSpPr>
                <p:spPr>
                  <a:xfrm>
                    <a:off x="8352091" y="441451"/>
                    <a:ext cx="89280" cy="66548"/>
                  </a:xfrm>
                  <a:custGeom>
                    <a:avLst/>
                    <a:gdLst>
                      <a:gd name="connsiteX0" fmla="*/ 68707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4" name="Freeform: Shape 37">
                    <a:extLst>
                      <a:ext uri="{FF2B5EF4-FFF2-40B4-BE49-F238E27FC236}">
                        <a16:creationId xmlns:a16="http://schemas.microsoft.com/office/drawing/2014/main" id="{A0A2B38E-1E95-9619-783E-ADF3BEE129D9}"/>
                      </a:ext>
                    </a:extLst>
                  </p:cNvPr>
                  <p:cNvSpPr/>
                  <p:nvPr/>
                </p:nvSpPr>
                <p:spPr>
                  <a:xfrm>
                    <a:off x="813930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Freeform: Shape 38">
                    <a:extLst>
                      <a:ext uri="{FF2B5EF4-FFF2-40B4-BE49-F238E27FC236}">
                        <a16:creationId xmlns:a16="http://schemas.microsoft.com/office/drawing/2014/main" id="{5E08C8E9-EB12-9B22-DB2A-510BB5DB7385}"/>
                      </a:ext>
                    </a:extLst>
                  </p:cNvPr>
                  <p:cNvSpPr/>
                  <p:nvPr/>
                </p:nvSpPr>
                <p:spPr>
                  <a:xfrm>
                    <a:off x="818184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: Shape 39">
                    <a:extLst>
                      <a:ext uri="{FF2B5EF4-FFF2-40B4-BE49-F238E27FC236}">
                        <a16:creationId xmlns:a16="http://schemas.microsoft.com/office/drawing/2014/main" id="{B3C02560-DAFD-1E8B-FC71-7174C7D768D3}"/>
                      </a:ext>
                    </a:extLst>
                  </p:cNvPr>
                  <p:cNvSpPr/>
                  <p:nvPr/>
                </p:nvSpPr>
                <p:spPr>
                  <a:xfrm>
                    <a:off x="8267001" y="441451"/>
                    <a:ext cx="89280" cy="66548"/>
                  </a:xfrm>
                  <a:custGeom>
                    <a:avLst/>
                    <a:gdLst>
                      <a:gd name="connsiteX0" fmla="*/ 68643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643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Freeform: Shape 40">
                    <a:extLst>
                      <a:ext uri="{FF2B5EF4-FFF2-40B4-BE49-F238E27FC236}">
                        <a16:creationId xmlns:a16="http://schemas.microsoft.com/office/drawing/2014/main" id="{3CC571E0-1B2D-7E89-72BC-7226E05B57A9}"/>
                      </a:ext>
                    </a:extLst>
                  </p:cNvPr>
                  <p:cNvSpPr/>
                  <p:nvPr/>
                </p:nvSpPr>
                <p:spPr>
                  <a:xfrm>
                    <a:off x="822439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: Shape 41">
                    <a:extLst>
                      <a:ext uri="{FF2B5EF4-FFF2-40B4-BE49-F238E27FC236}">
                        <a16:creationId xmlns:a16="http://schemas.microsoft.com/office/drawing/2014/main" id="{06A899AE-DF57-E8DF-59C7-382B517E083B}"/>
                      </a:ext>
                    </a:extLst>
                  </p:cNvPr>
                  <p:cNvSpPr/>
                  <p:nvPr/>
                </p:nvSpPr>
                <p:spPr>
                  <a:xfrm>
                    <a:off x="8309546" y="441451"/>
                    <a:ext cx="89281" cy="66548"/>
                  </a:xfrm>
                  <a:custGeom>
                    <a:avLst/>
                    <a:gdLst>
                      <a:gd name="connsiteX0" fmla="*/ 68644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644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: Shape 42">
                    <a:extLst>
                      <a:ext uri="{FF2B5EF4-FFF2-40B4-BE49-F238E27FC236}">
                        <a16:creationId xmlns:a16="http://schemas.microsoft.com/office/drawing/2014/main" id="{730356B6-0677-C389-19A0-1BD3B4C58E69}"/>
                      </a:ext>
                    </a:extLst>
                  </p:cNvPr>
                  <p:cNvSpPr/>
                  <p:nvPr/>
                </p:nvSpPr>
                <p:spPr>
                  <a:xfrm>
                    <a:off x="852227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: Shape 43">
                    <a:extLst>
                      <a:ext uri="{FF2B5EF4-FFF2-40B4-BE49-F238E27FC236}">
                        <a16:creationId xmlns:a16="http://schemas.microsoft.com/office/drawing/2014/main" id="{1DD83C8B-982F-6F8E-9373-891BFC52495C}"/>
                      </a:ext>
                    </a:extLst>
                  </p:cNvPr>
                  <p:cNvSpPr/>
                  <p:nvPr/>
                </p:nvSpPr>
                <p:spPr>
                  <a:xfrm>
                    <a:off x="869397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Freeform: Shape 44">
                    <a:extLst>
                      <a:ext uri="{FF2B5EF4-FFF2-40B4-BE49-F238E27FC236}">
                        <a16:creationId xmlns:a16="http://schemas.microsoft.com/office/drawing/2014/main" id="{48604E3E-6E1D-C243-EBEA-CC52E9B01340}"/>
                      </a:ext>
                    </a:extLst>
                  </p:cNvPr>
                  <p:cNvSpPr/>
                  <p:nvPr/>
                </p:nvSpPr>
                <p:spPr>
                  <a:xfrm>
                    <a:off x="8821610" y="508000"/>
                    <a:ext cx="6350" cy="6350"/>
                  </a:xfrm>
                  <a:custGeom>
                    <a:avLst/>
                    <a:gdLst>
                      <a:gd name="connsiteX0" fmla="*/ 0 w 6350"/>
                      <a:gd name="connsiteY0" fmla="*/ 0 h 6350"/>
                      <a:gd name="connsiteX1" fmla="*/ 0 w 6350"/>
                      <a:gd name="connsiteY1" fmla="*/ 0 h 6350"/>
                      <a:gd name="connsiteX2" fmla="*/ 0 w 6350"/>
                      <a:gd name="connsiteY2" fmla="*/ 0 h 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350" h="6350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: Shape 45">
                    <a:extLst>
                      <a:ext uri="{FF2B5EF4-FFF2-40B4-BE49-F238E27FC236}">
                        <a16:creationId xmlns:a16="http://schemas.microsoft.com/office/drawing/2014/main" id="{BFF081E7-5FE0-A25F-3BAC-B4F1472DCF36}"/>
                      </a:ext>
                    </a:extLst>
                  </p:cNvPr>
                  <p:cNvSpPr/>
                  <p:nvPr/>
                </p:nvSpPr>
                <p:spPr>
                  <a:xfrm>
                    <a:off x="8564816" y="441451"/>
                    <a:ext cx="90868" cy="66548"/>
                  </a:xfrm>
                  <a:custGeom>
                    <a:avLst/>
                    <a:gdLst>
                      <a:gd name="connsiteX0" fmla="*/ 68707 w 90868"/>
                      <a:gd name="connsiteY0" fmla="*/ 0 h 66548"/>
                      <a:gd name="connsiteX1" fmla="*/ 0 w 90868"/>
                      <a:gd name="connsiteY1" fmla="*/ 66548 h 66548"/>
                      <a:gd name="connsiteX2" fmla="*/ 22161 w 90868"/>
                      <a:gd name="connsiteY2" fmla="*/ 66548 h 66548"/>
                      <a:gd name="connsiteX3" fmla="*/ 90868 w 90868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0868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2161" y="66548"/>
                        </a:lnTo>
                        <a:lnTo>
                          <a:pt x="90868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: Shape 46">
                    <a:extLst>
                      <a:ext uri="{FF2B5EF4-FFF2-40B4-BE49-F238E27FC236}">
                        <a16:creationId xmlns:a16="http://schemas.microsoft.com/office/drawing/2014/main" id="{CFB01C3B-4079-CB09-810F-10B115C08277}"/>
                      </a:ext>
                    </a:extLst>
                  </p:cNvPr>
                  <p:cNvSpPr/>
                  <p:nvPr/>
                </p:nvSpPr>
                <p:spPr>
                  <a:xfrm>
                    <a:off x="8651430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: Shape 47">
                    <a:extLst>
                      <a:ext uri="{FF2B5EF4-FFF2-40B4-BE49-F238E27FC236}">
                        <a16:creationId xmlns:a16="http://schemas.microsoft.com/office/drawing/2014/main" id="{AD2960A2-69C1-D917-5B5B-F0AE47B4D113}"/>
                      </a:ext>
                    </a:extLst>
                  </p:cNvPr>
                  <p:cNvSpPr/>
                  <p:nvPr/>
                </p:nvSpPr>
                <p:spPr>
                  <a:xfrm>
                    <a:off x="860888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: Shape 48">
                    <a:extLst>
                      <a:ext uri="{FF2B5EF4-FFF2-40B4-BE49-F238E27FC236}">
                        <a16:creationId xmlns:a16="http://schemas.microsoft.com/office/drawing/2014/main" id="{126DB3C7-67EC-78EE-B18B-1682510FDB58}"/>
                      </a:ext>
                    </a:extLst>
                  </p:cNvPr>
                  <p:cNvSpPr/>
                  <p:nvPr/>
                </p:nvSpPr>
                <p:spPr>
                  <a:xfrm>
                    <a:off x="809675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: Shape 49">
                    <a:extLst>
                      <a:ext uri="{FF2B5EF4-FFF2-40B4-BE49-F238E27FC236}">
                        <a16:creationId xmlns:a16="http://schemas.microsoft.com/office/drawing/2014/main" id="{1FB83E26-0C24-86CE-41E0-DD518451D4F1}"/>
                      </a:ext>
                    </a:extLst>
                  </p:cNvPr>
                  <p:cNvSpPr/>
                  <p:nvPr/>
                </p:nvSpPr>
                <p:spPr>
                  <a:xfrm>
                    <a:off x="801166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: Shape 50">
                    <a:extLst>
                      <a:ext uri="{FF2B5EF4-FFF2-40B4-BE49-F238E27FC236}">
                        <a16:creationId xmlns:a16="http://schemas.microsoft.com/office/drawing/2014/main" id="{5AD29198-7A4A-0C04-B1A3-881BDC486517}"/>
                      </a:ext>
                    </a:extLst>
                  </p:cNvPr>
                  <p:cNvSpPr/>
                  <p:nvPr/>
                </p:nvSpPr>
                <p:spPr>
                  <a:xfrm>
                    <a:off x="805421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: Shape 51">
                    <a:extLst>
                      <a:ext uri="{FF2B5EF4-FFF2-40B4-BE49-F238E27FC236}">
                        <a16:creationId xmlns:a16="http://schemas.microsoft.com/office/drawing/2014/main" id="{D1108AE3-3ADD-6F50-957C-AF6B4E3553B3}"/>
                      </a:ext>
                    </a:extLst>
                  </p:cNvPr>
                  <p:cNvSpPr/>
                  <p:nvPr/>
                </p:nvSpPr>
                <p:spPr>
                  <a:xfrm>
                    <a:off x="7969122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: Shape 52">
                    <a:extLst>
                      <a:ext uri="{FF2B5EF4-FFF2-40B4-BE49-F238E27FC236}">
                        <a16:creationId xmlns:a16="http://schemas.microsoft.com/office/drawing/2014/main" id="{7F46CB31-A77A-0F3E-F117-4C2587120757}"/>
                      </a:ext>
                    </a:extLst>
                  </p:cNvPr>
                  <p:cNvSpPr/>
                  <p:nvPr/>
                </p:nvSpPr>
                <p:spPr>
                  <a:xfrm>
                    <a:off x="792657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B80819A2-71D0-F114-F77A-83D7B90A6A09}"/>
                    </a:ext>
                  </a:extLst>
                </p:cNvPr>
                <p:cNvGrpSpPr/>
                <p:nvPr userDrawn="1"/>
              </p:nvGrpSpPr>
              <p:grpSpPr>
                <a:xfrm rot="10800000" flipV="1">
                  <a:off x="2780760" y="2715971"/>
                  <a:ext cx="53143" cy="379249"/>
                  <a:chOff x="5390750" y="3681616"/>
                  <a:chExt cx="73151" cy="522033"/>
                </a:xfrm>
              </p:grpSpPr>
              <p:sp>
                <p:nvSpPr>
                  <p:cNvPr id="103" name="Freeform: Shape 26">
                    <a:extLst>
                      <a:ext uri="{FF2B5EF4-FFF2-40B4-BE49-F238E27FC236}">
                        <a16:creationId xmlns:a16="http://schemas.microsoft.com/office/drawing/2014/main" id="{8B0F0C36-C3A4-8971-D8E0-D5FD697A7C8E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5100" y="3681616"/>
                    <a:ext cx="43688" cy="43687"/>
                  </a:xfrm>
                  <a:custGeom>
                    <a:avLst/>
                    <a:gdLst>
                      <a:gd name="connsiteX0" fmla="*/ 0 w 43688"/>
                      <a:gd name="connsiteY0" fmla="*/ 0 h 43687"/>
                      <a:gd name="connsiteX1" fmla="*/ 43688 w 43688"/>
                      <a:gd name="connsiteY1" fmla="*/ 0 h 43687"/>
                      <a:gd name="connsiteX2" fmla="*/ 43688 w 43688"/>
                      <a:gd name="connsiteY2" fmla="*/ 43688 h 43687"/>
                      <a:gd name="connsiteX3" fmla="*/ 0 w 43688"/>
                      <a:gd name="connsiteY3" fmla="*/ 43688 h 43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88" h="43687">
                        <a:moveTo>
                          <a:pt x="0" y="0"/>
                        </a:moveTo>
                        <a:lnTo>
                          <a:pt x="43688" y="0"/>
                        </a:lnTo>
                        <a:lnTo>
                          <a:pt x="43688" y="43688"/>
                        </a:lnTo>
                        <a:lnTo>
                          <a:pt x="0" y="43688"/>
                        </a:lnTo>
                        <a:close/>
                      </a:path>
                    </a:pathLst>
                  </a:custGeom>
                  <a:noFill/>
                  <a:ln w="3175" cap="flat">
                    <a:solidFill>
                      <a:schemeClr val="bg1">
                        <a:lumMod val="50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: Shape 27">
                    <a:extLst>
                      <a:ext uri="{FF2B5EF4-FFF2-40B4-BE49-F238E27FC236}">
                        <a16:creationId xmlns:a16="http://schemas.microsoft.com/office/drawing/2014/main" id="{E25549F9-BB4F-E824-E49B-EBD369AB0095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81062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Freeform: Shape 28">
                    <a:extLst>
                      <a:ext uri="{FF2B5EF4-FFF2-40B4-BE49-F238E27FC236}">
                        <a16:creationId xmlns:a16="http://schemas.microsoft.com/office/drawing/2014/main" id="{2F9E81C5-4E0E-EA93-A791-192C329435BC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21394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Freeform: Shape 29">
                    <a:extLst>
                      <a:ext uri="{FF2B5EF4-FFF2-40B4-BE49-F238E27FC236}">
                        <a16:creationId xmlns:a16="http://schemas.microsoft.com/office/drawing/2014/main" id="{BB5478DC-9F7A-972A-90BC-F93F848CB0C5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02056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Freeform: Shape 30">
                    <a:extLst>
                      <a:ext uri="{FF2B5EF4-FFF2-40B4-BE49-F238E27FC236}">
                        <a16:creationId xmlns:a16="http://schemas.microsoft.com/office/drawing/2014/main" id="{212D1BD4-1E14-32CA-CC32-A6A262486B11}"/>
                      </a:ext>
                    </a:extLst>
                  </p:cNvPr>
                  <p:cNvSpPr/>
                  <p:nvPr/>
                </p:nvSpPr>
                <p:spPr>
                  <a:xfrm rot="10800000" flipH="1">
                    <a:off x="5407069" y="4165549"/>
                    <a:ext cx="42418" cy="38100"/>
                  </a:xfrm>
                  <a:custGeom>
                    <a:avLst/>
                    <a:gdLst>
                      <a:gd name="connsiteX0" fmla="*/ 0 w 42418"/>
                      <a:gd name="connsiteY0" fmla="*/ 0 h 38100"/>
                      <a:gd name="connsiteX1" fmla="*/ 42418 w 42418"/>
                      <a:gd name="connsiteY1" fmla="*/ 0 h 38100"/>
                      <a:gd name="connsiteX2" fmla="*/ 42418 w 42418"/>
                      <a:gd name="connsiteY2" fmla="*/ 38100 h 38100"/>
                      <a:gd name="connsiteX3" fmla="*/ 0 w 42418"/>
                      <a:gd name="connsiteY3" fmla="*/ 38100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418" h="38100">
                        <a:moveTo>
                          <a:pt x="0" y="0"/>
                        </a:moveTo>
                        <a:lnTo>
                          <a:pt x="42418" y="0"/>
                        </a:lnTo>
                        <a:lnTo>
                          <a:pt x="42418" y="38100"/>
                        </a:lnTo>
                        <a:lnTo>
                          <a:pt x="0" y="3810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Freeform: Shape 31">
                    <a:extLst>
                      <a:ext uri="{FF2B5EF4-FFF2-40B4-BE49-F238E27FC236}">
                        <a16:creationId xmlns:a16="http://schemas.microsoft.com/office/drawing/2014/main" id="{92B4EFB4-0188-B584-C6B1-BAD1E2006EBF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7387" y="3776295"/>
                    <a:ext cx="39878" cy="73151"/>
                  </a:xfrm>
                  <a:custGeom>
                    <a:avLst/>
                    <a:gdLst>
                      <a:gd name="connsiteX0" fmla="*/ 39878 w 39878"/>
                      <a:gd name="connsiteY0" fmla="*/ 38671 h 73151"/>
                      <a:gd name="connsiteX1" fmla="*/ 2413 w 39878"/>
                      <a:gd name="connsiteY1" fmla="*/ 73152 h 73151"/>
                      <a:gd name="connsiteX2" fmla="*/ 0 w 39878"/>
                      <a:gd name="connsiteY2" fmla="*/ 69913 h 73151"/>
                      <a:gd name="connsiteX3" fmla="*/ 36131 w 39878"/>
                      <a:gd name="connsiteY3" fmla="*/ 36576 h 73151"/>
                      <a:gd name="connsiteX4" fmla="*/ 0 w 39878"/>
                      <a:gd name="connsiteY4" fmla="*/ 3238 h 73151"/>
                      <a:gd name="connsiteX5" fmla="*/ 2413 w 39878"/>
                      <a:gd name="connsiteY5" fmla="*/ 0 h 73151"/>
                      <a:gd name="connsiteX6" fmla="*/ 39878 w 39878"/>
                      <a:gd name="connsiteY6" fmla="*/ 34481 h 73151"/>
                      <a:gd name="connsiteX7" fmla="*/ 39878 w 39878"/>
                      <a:gd name="connsiteY7" fmla="*/ 38671 h 73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878" h="73151">
                        <a:moveTo>
                          <a:pt x="39878" y="38671"/>
                        </a:moveTo>
                        <a:lnTo>
                          <a:pt x="2413" y="73152"/>
                        </a:lnTo>
                        <a:lnTo>
                          <a:pt x="0" y="69913"/>
                        </a:lnTo>
                        <a:lnTo>
                          <a:pt x="36131" y="36576"/>
                        </a:lnTo>
                        <a:lnTo>
                          <a:pt x="0" y="3238"/>
                        </a:lnTo>
                        <a:lnTo>
                          <a:pt x="2413" y="0"/>
                        </a:lnTo>
                        <a:lnTo>
                          <a:pt x="39878" y="34481"/>
                        </a:lnTo>
                        <a:lnTo>
                          <a:pt x="39878" y="3867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: Shape 32">
                    <a:extLst>
                      <a:ext uri="{FF2B5EF4-FFF2-40B4-BE49-F238E27FC236}">
                        <a16:creationId xmlns:a16="http://schemas.microsoft.com/office/drawing/2014/main" id="{393FD982-A5A0-4231-39D7-D076B331BD2A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61725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100" name="Freeform 13">
                <a:extLst>
                  <a:ext uri="{FF2B5EF4-FFF2-40B4-BE49-F238E27FC236}">
                    <a16:creationId xmlns:a16="http://schemas.microsoft.com/office/drawing/2014/main" id="{55910CD3-845E-B953-6854-18CBEE412135}"/>
                  </a:ext>
                </a:extLst>
              </p:cNvPr>
              <p:cNvSpPr/>
              <p:nvPr userDrawn="1"/>
            </p:nvSpPr>
            <p:spPr>
              <a:xfrm>
                <a:off x="862265" y="1612232"/>
                <a:ext cx="2224760" cy="4162926"/>
              </a:xfrm>
              <a:custGeom>
                <a:avLst/>
                <a:gdLst>
                  <a:gd name="connsiteX0" fmla="*/ 0 w 2317531"/>
                  <a:gd name="connsiteY0" fmla="*/ 0 h 4193627"/>
                  <a:gd name="connsiteX1" fmla="*/ 1923393 w 2317531"/>
                  <a:gd name="connsiteY1" fmla="*/ 0 h 4193627"/>
                  <a:gd name="connsiteX2" fmla="*/ 2317531 w 2317531"/>
                  <a:gd name="connsiteY2" fmla="*/ 394138 h 4193627"/>
                  <a:gd name="connsiteX3" fmla="*/ 2317531 w 2317531"/>
                  <a:gd name="connsiteY3" fmla="*/ 4193627 h 4193627"/>
                  <a:gd name="connsiteX4" fmla="*/ 2104696 w 2317531"/>
                  <a:gd name="connsiteY4" fmla="*/ 4193627 h 4193627"/>
                  <a:gd name="connsiteX5" fmla="*/ 23648 w 2317531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302286 w 2302286"/>
                  <a:gd name="connsiteY2" fmla="*/ 39413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1 w 2302286"/>
                  <a:gd name="connsiteY2" fmla="*/ 352451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2 w 2302286"/>
                  <a:gd name="connsiteY2" fmla="*/ 366347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5 w 2302286"/>
                  <a:gd name="connsiteY2" fmla="*/ 352452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4687 w 2302286"/>
                  <a:gd name="connsiteY2" fmla="*/ 503634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1016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68239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49471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7046 h 4200673"/>
                  <a:gd name="connsiteX1" fmla="*/ 1856979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1817330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579941 w 2291829"/>
                  <a:gd name="connsiteY1" fmla="*/ 8817 h 4200673"/>
                  <a:gd name="connsiteX2" fmla="*/ 1817330 w 2291829"/>
                  <a:gd name="connsiteY2" fmla="*/ 0 h 4200673"/>
                  <a:gd name="connsiteX3" fmla="*/ 2271201 w 2291829"/>
                  <a:gd name="connsiteY3" fmla="*/ 433705 h 4200673"/>
                  <a:gd name="connsiteX4" fmla="*/ 2291829 w 2291829"/>
                  <a:gd name="connsiteY4" fmla="*/ 4200673 h 4200673"/>
                  <a:gd name="connsiteX5" fmla="*/ 2089451 w 2291829"/>
                  <a:gd name="connsiteY5" fmla="*/ 4200673 h 4200673"/>
                  <a:gd name="connsiteX6" fmla="*/ 8403 w 2291829"/>
                  <a:gd name="connsiteY6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0 w 2283426"/>
                  <a:gd name="connsiteY5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539006 w 2283426"/>
                  <a:gd name="connsiteY5" fmla="*/ 4196286 h 4200673"/>
                  <a:gd name="connsiteX6" fmla="*/ 0 w 2283426"/>
                  <a:gd name="connsiteY6" fmla="*/ 4200673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0 w 1744420"/>
                  <a:gd name="connsiteY5" fmla="*/ 4196286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23716 w 1744420"/>
                  <a:gd name="connsiteY5" fmla="*/ 4199431 h 4200673"/>
                  <a:gd name="connsiteX6" fmla="*/ 0 w 1744420"/>
                  <a:gd name="connsiteY6" fmla="*/ 4196286 h 4200673"/>
                  <a:gd name="connsiteX0" fmla="*/ 8816 w 1720704"/>
                  <a:gd name="connsiteY0" fmla="*/ 8817 h 4200673"/>
                  <a:gd name="connsiteX1" fmla="*/ 1246205 w 1720704"/>
                  <a:gd name="connsiteY1" fmla="*/ 0 h 4200673"/>
                  <a:gd name="connsiteX2" fmla="*/ 1700076 w 1720704"/>
                  <a:gd name="connsiteY2" fmla="*/ 433705 h 4200673"/>
                  <a:gd name="connsiteX3" fmla="*/ 1720704 w 1720704"/>
                  <a:gd name="connsiteY3" fmla="*/ 4200673 h 4200673"/>
                  <a:gd name="connsiteX4" fmla="*/ 1518326 w 1720704"/>
                  <a:gd name="connsiteY4" fmla="*/ 4200673 h 4200673"/>
                  <a:gd name="connsiteX5" fmla="*/ 0 w 1720704"/>
                  <a:gd name="connsiteY5" fmla="*/ 4199431 h 4200673"/>
                  <a:gd name="connsiteX0" fmla="*/ 102 w 1720704"/>
                  <a:gd name="connsiteY0" fmla="*/ 0 h 4202853"/>
                  <a:gd name="connsiteX1" fmla="*/ 1246205 w 1720704"/>
                  <a:gd name="connsiteY1" fmla="*/ 2180 h 4202853"/>
                  <a:gd name="connsiteX2" fmla="*/ 1700076 w 1720704"/>
                  <a:gd name="connsiteY2" fmla="*/ 435885 h 4202853"/>
                  <a:gd name="connsiteX3" fmla="*/ 1720704 w 1720704"/>
                  <a:gd name="connsiteY3" fmla="*/ 4202853 h 4202853"/>
                  <a:gd name="connsiteX4" fmla="*/ 1518326 w 1720704"/>
                  <a:gd name="connsiteY4" fmla="*/ 4202853 h 4202853"/>
                  <a:gd name="connsiteX5" fmla="*/ 0 w 1720704"/>
                  <a:gd name="connsiteY5" fmla="*/ 4201611 h 4202853"/>
                  <a:gd name="connsiteX0" fmla="*/ 102 w 1720704"/>
                  <a:gd name="connsiteY0" fmla="*/ 0 h 4202853"/>
                  <a:gd name="connsiteX1" fmla="*/ 212558 w 1720704"/>
                  <a:gd name="connsiteY1" fmla="*/ 1544 h 4202853"/>
                  <a:gd name="connsiteX2" fmla="*/ 1246205 w 1720704"/>
                  <a:gd name="connsiteY2" fmla="*/ 2180 h 4202853"/>
                  <a:gd name="connsiteX3" fmla="*/ 1700076 w 1720704"/>
                  <a:gd name="connsiteY3" fmla="*/ 435885 h 4202853"/>
                  <a:gd name="connsiteX4" fmla="*/ 1720704 w 1720704"/>
                  <a:gd name="connsiteY4" fmla="*/ 4202853 h 4202853"/>
                  <a:gd name="connsiteX5" fmla="*/ 1518326 w 1720704"/>
                  <a:gd name="connsiteY5" fmla="*/ 4202853 h 4202853"/>
                  <a:gd name="connsiteX6" fmla="*/ 0 w 1720704"/>
                  <a:gd name="connsiteY6" fmla="*/ 4201611 h 4202853"/>
                  <a:gd name="connsiteX0" fmla="*/ 212558 w 1720704"/>
                  <a:gd name="connsiteY0" fmla="*/ 0 h 4201309"/>
                  <a:gd name="connsiteX1" fmla="*/ 1246205 w 1720704"/>
                  <a:gd name="connsiteY1" fmla="*/ 636 h 4201309"/>
                  <a:gd name="connsiteX2" fmla="*/ 1700076 w 1720704"/>
                  <a:gd name="connsiteY2" fmla="*/ 434341 h 4201309"/>
                  <a:gd name="connsiteX3" fmla="*/ 1720704 w 1720704"/>
                  <a:gd name="connsiteY3" fmla="*/ 4201309 h 4201309"/>
                  <a:gd name="connsiteX4" fmla="*/ 1518326 w 1720704"/>
                  <a:gd name="connsiteY4" fmla="*/ 4201309 h 4201309"/>
                  <a:gd name="connsiteX5" fmla="*/ 0 w 1720704"/>
                  <a:gd name="connsiteY5" fmla="*/ 4200067 h 4201309"/>
                  <a:gd name="connsiteX0" fmla="*/ 212558 w 1720704"/>
                  <a:gd name="connsiteY0" fmla="*/ 0 h 4205294"/>
                  <a:gd name="connsiteX1" fmla="*/ 1246205 w 1720704"/>
                  <a:gd name="connsiteY1" fmla="*/ 636 h 4205294"/>
                  <a:gd name="connsiteX2" fmla="*/ 1700076 w 1720704"/>
                  <a:gd name="connsiteY2" fmla="*/ 434341 h 4205294"/>
                  <a:gd name="connsiteX3" fmla="*/ 1720704 w 1720704"/>
                  <a:gd name="connsiteY3" fmla="*/ 4201309 h 4205294"/>
                  <a:gd name="connsiteX4" fmla="*/ 1518326 w 1720704"/>
                  <a:gd name="connsiteY4" fmla="*/ 4201309 h 4205294"/>
                  <a:gd name="connsiteX5" fmla="*/ 217694 w 1720704"/>
                  <a:gd name="connsiteY5" fmla="*/ 4205294 h 4205294"/>
                  <a:gd name="connsiteX6" fmla="*/ 0 w 1720704"/>
                  <a:gd name="connsiteY6" fmla="*/ 4200067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305768 w 1508146"/>
                  <a:gd name="connsiteY4" fmla="*/ 4201309 h 4205294"/>
                  <a:gd name="connsiteX5" fmla="*/ 5136 w 1508146"/>
                  <a:gd name="connsiteY5" fmla="*/ 4205294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424134 w 1508146"/>
                  <a:gd name="connsiteY4" fmla="*/ 4202255 h 4205294"/>
                  <a:gd name="connsiteX5" fmla="*/ 1305768 w 1508146"/>
                  <a:gd name="connsiteY5" fmla="*/ 4201309 h 4205294"/>
                  <a:gd name="connsiteX6" fmla="*/ 5136 w 1508146"/>
                  <a:gd name="connsiteY6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87518 w 1509361"/>
                  <a:gd name="connsiteY2" fmla="*/ 434341 h 4205294"/>
                  <a:gd name="connsiteX3" fmla="*/ 1424134 w 1509361"/>
                  <a:gd name="connsiteY3" fmla="*/ 4202255 h 4205294"/>
                  <a:gd name="connsiteX4" fmla="*/ 1305768 w 1509361"/>
                  <a:gd name="connsiteY4" fmla="*/ 4201309 h 4205294"/>
                  <a:gd name="connsiteX5" fmla="*/ 5136 w 1509361"/>
                  <a:gd name="connsiteY5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22915 w 1509361"/>
                  <a:gd name="connsiteY2" fmla="*/ 376572 h 4205294"/>
                  <a:gd name="connsiteX3" fmla="*/ 1487518 w 1509361"/>
                  <a:gd name="connsiteY3" fmla="*/ 434341 h 4205294"/>
                  <a:gd name="connsiteX4" fmla="*/ 1424134 w 1509361"/>
                  <a:gd name="connsiteY4" fmla="*/ 4202255 h 4205294"/>
                  <a:gd name="connsiteX5" fmla="*/ 1305768 w 1509361"/>
                  <a:gd name="connsiteY5" fmla="*/ 4201309 h 4205294"/>
                  <a:gd name="connsiteX6" fmla="*/ 5136 w 1509361"/>
                  <a:gd name="connsiteY6" fmla="*/ 4205294 h 4205294"/>
                  <a:gd name="connsiteX0" fmla="*/ 0 w 1457094"/>
                  <a:gd name="connsiteY0" fmla="*/ 50479 h 4255773"/>
                  <a:gd name="connsiteX1" fmla="*/ 1033647 w 1457094"/>
                  <a:gd name="connsiteY1" fmla="*/ 51115 h 4255773"/>
                  <a:gd name="connsiteX2" fmla="*/ 1422915 w 1457094"/>
                  <a:gd name="connsiteY2" fmla="*/ 427051 h 4255773"/>
                  <a:gd name="connsiteX3" fmla="*/ 1424134 w 1457094"/>
                  <a:gd name="connsiteY3" fmla="*/ 4252734 h 4255773"/>
                  <a:gd name="connsiteX4" fmla="*/ 1305768 w 1457094"/>
                  <a:gd name="connsiteY4" fmla="*/ 4251788 h 4255773"/>
                  <a:gd name="connsiteX5" fmla="*/ 5136 w 1457094"/>
                  <a:gd name="connsiteY5" fmla="*/ 4255773 h 4255773"/>
                  <a:gd name="connsiteX0" fmla="*/ 0 w 1432100"/>
                  <a:gd name="connsiteY0" fmla="*/ 50479 h 4255773"/>
                  <a:gd name="connsiteX1" fmla="*/ 1033647 w 1432100"/>
                  <a:gd name="connsiteY1" fmla="*/ 51115 h 4255773"/>
                  <a:gd name="connsiteX2" fmla="*/ 1422915 w 1432100"/>
                  <a:gd name="connsiteY2" fmla="*/ 427051 h 4255773"/>
                  <a:gd name="connsiteX3" fmla="*/ 1424134 w 1432100"/>
                  <a:gd name="connsiteY3" fmla="*/ 4252734 h 4255773"/>
                  <a:gd name="connsiteX4" fmla="*/ 1305768 w 1432100"/>
                  <a:gd name="connsiteY4" fmla="*/ 4251788 h 4255773"/>
                  <a:gd name="connsiteX5" fmla="*/ 5136 w 1432100"/>
                  <a:gd name="connsiteY5" fmla="*/ 4255773 h 4255773"/>
                  <a:gd name="connsiteX0" fmla="*/ 0 w 1434720"/>
                  <a:gd name="connsiteY0" fmla="*/ 50479 h 4255773"/>
                  <a:gd name="connsiteX1" fmla="*/ 1033647 w 1434720"/>
                  <a:gd name="connsiteY1" fmla="*/ 51115 h 4255773"/>
                  <a:gd name="connsiteX2" fmla="*/ 1422915 w 1434720"/>
                  <a:gd name="connsiteY2" fmla="*/ 427051 h 4255773"/>
                  <a:gd name="connsiteX3" fmla="*/ 1424134 w 1434720"/>
                  <a:gd name="connsiteY3" fmla="*/ 4252734 h 4255773"/>
                  <a:gd name="connsiteX4" fmla="*/ 1305768 w 1434720"/>
                  <a:gd name="connsiteY4" fmla="*/ 4251788 h 4255773"/>
                  <a:gd name="connsiteX5" fmla="*/ 5136 w 1434720"/>
                  <a:gd name="connsiteY5" fmla="*/ 4255773 h 4255773"/>
                  <a:gd name="connsiteX0" fmla="*/ 0 w 1432860"/>
                  <a:gd name="connsiteY0" fmla="*/ 50479 h 4255773"/>
                  <a:gd name="connsiteX1" fmla="*/ 1033647 w 1432860"/>
                  <a:gd name="connsiteY1" fmla="*/ 51115 h 4255773"/>
                  <a:gd name="connsiteX2" fmla="*/ 1422915 w 1432860"/>
                  <a:gd name="connsiteY2" fmla="*/ 427051 h 4255773"/>
                  <a:gd name="connsiteX3" fmla="*/ 1424134 w 1432860"/>
                  <a:gd name="connsiteY3" fmla="*/ 4252734 h 4255773"/>
                  <a:gd name="connsiteX4" fmla="*/ 1305768 w 1432860"/>
                  <a:gd name="connsiteY4" fmla="*/ 4251788 h 4255773"/>
                  <a:gd name="connsiteX5" fmla="*/ 5136 w 1432860"/>
                  <a:gd name="connsiteY5" fmla="*/ 4255773 h 4255773"/>
                  <a:gd name="connsiteX0" fmla="*/ 0 w 1424727"/>
                  <a:gd name="connsiteY0" fmla="*/ 50479 h 4255773"/>
                  <a:gd name="connsiteX1" fmla="*/ 1033647 w 1424727"/>
                  <a:gd name="connsiteY1" fmla="*/ 51115 h 4255773"/>
                  <a:gd name="connsiteX2" fmla="*/ 1422915 w 1424727"/>
                  <a:gd name="connsiteY2" fmla="*/ 427051 h 4255773"/>
                  <a:gd name="connsiteX3" fmla="*/ 1424134 w 1424727"/>
                  <a:gd name="connsiteY3" fmla="*/ 4252734 h 4255773"/>
                  <a:gd name="connsiteX4" fmla="*/ 1305768 w 1424727"/>
                  <a:gd name="connsiteY4" fmla="*/ 4251788 h 4255773"/>
                  <a:gd name="connsiteX5" fmla="*/ 5136 w 1424727"/>
                  <a:gd name="connsiteY5" fmla="*/ 4255773 h 4255773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4727" h="4205294">
                    <a:moveTo>
                      <a:pt x="0" y="0"/>
                    </a:moveTo>
                    <a:lnTo>
                      <a:pt x="1033647" y="636"/>
                    </a:lnTo>
                    <a:cubicBezTo>
                      <a:pt x="1263479" y="213500"/>
                      <a:pt x="1167521" y="115063"/>
                      <a:pt x="1422915" y="376572"/>
                    </a:cubicBezTo>
                    <a:cubicBezTo>
                      <a:pt x="1424558" y="1178834"/>
                      <a:pt x="1425359" y="3578270"/>
                      <a:pt x="1424134" y="4202255"/>
                    </a:cubicBezTo>
                    <a:lnTo>
                      <a:pt x="1305768" y="4201309"/>
                    </a:lnTo>
                    <a:lnTo>
                      <a:pt x="5136" y="4205294"/>
                    </a:lnTo>
                  </a:path>
                </a:pathLst>
              </a:custGeom>
              <a:noFill/>
              <a:ln w="9525" cap="sq">
                <a:solidFill>
                  <a:schemeClr val="bg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FontTx/>
                  <a:buNone/>
                </a:pPr>
                <a:endParaRPr lang="en-US" dirty="0"/>
              </a:p>
            </p:txBody>
          </p:sp>
        </p:grp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4954E923-BCDD-8FB0-E53A-F003085CB82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07131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5" name="Picture Placeholder 2">
            <a:extLst>
              <a:ext uri="{FF2B5EF4-FFF2-40B4-BE49-F238E27FC236}">
                <a16:creationId xmlns:a16="http://schemas.microsoft.com/office/drawing/2014/main" id="{64C9E9B6-9FB0-DB26-57F9-120FE6AFFA61}"/>
              </a:ext>
            </a:extLst>
          </p:cNvPr>
          <p:cNvSpPr>
            <a:spLocks noGrp="1"/>
          </p:cNvSpPr>
          <p:nvPr>
            <p:ph type="pic" idx="37" hasCustomPrompt="1"/>
          </p:nvPr>
        </p:nvSpPr>
        <p:spPr>
          <a:xfrm>
            <a:off x="9492560" y="1704782"/>
            <a:ext cx="2103120" cy="2926080"/>
          </a:xfrm>
          <a:custGeom>
            <a:avLst/>
            <a:gdLst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48252 w 3448252"/>
              <a:gd name="connsiteY2" fmla="*/ 558824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89428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8759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99781 w 3448252"/>
              <a:gd name="connsiteY1" fmla="*/ 0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0 h 3730752"/>
              <a:gd name="connsiteX1" fmla="*/ 2777887 w 3448252"/>
              <a:gd name="connsiteY1" fmla="*/ 7257 h 3730752"/>
              <a:gd name="connsiteX2" fmla="*/ 3439288 w 3448252"/>
              <a:gd name="connsiteY2" fmla="*/ 392977 h 3730752"/>
              <a:gd name="connsiteX3" fmla="*/ 3448252 w 3448252"/>
              <a:gd name="connsiteY3" fmla="*/ 3730752 h 3730752"/>
              <a:gd name="connsiteX4" fmla="*/ 0 w 3448252"/>
              <a:gd name="connsiteY4" fmla="*/ 3730752 h 3730752"/>
              <a:gd name="connsiteX5" fmla="*/ 0 w 3448252"/>
              <a:gd name="connsiteY5" fmla="*/ 0 h 3730752"/>
              <a:gd name="connsiteX0" fmla="*/ 0 w 3448252"/>
              <a:gd name="connsiteY0" fmla="*/ 7257 h 3738009"/>
              <a:gd name="connsiteX1" fmla="*/ 2774238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0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0 w 3448252"/>
              <a:gd name="connsiteY5" fmla="*/ 7257 h 3738009"/>
              <a:gd name="connsiteX0" fmla="*/ 888883 w 3448252"/>
              <a:gd name="connsiteY0" fmla="*/ 7257 h 3738009"/>
              <a:gd name="connsiteX1" fmla="*/ 2791922 w 3448252"/>
              <a:gd name="connsiteY1" fmla="*/ 0 h 3738009"/>
              <a:gd name="connsiteX2" fmla="*/ 3439288 w 3448252"/>
              <a:gd name="connsiteY2" fmla="*/ 400234 h 3738009"/>
              <a:gd name="connsiteX3" fmla="*/ 3448252 w 3448252"/>
              <a:gd name="connsiteY3" fmla="*/ 3738009 h 3738009"/>
              <a:gd name="connsiteX4" fmla="*/ 0 w 3448252"/>
              <a:gd name="connsiteY4" fmla="*/ 3738009 h 3738009"/>
              <a:gd name="connsiteX5" fmla="*/ 888883 w 3448252"/>
              <a:gd name="connsiteY5" fmla="*/ 7257 h 3738009"/>
              <a:gd name="connsiteX0" fmla="*/ 0 w 2559369"/>
              <a:gd name="connsiteY0" fmla="*/ 7257 h 3738009"/>
              <a:gd name="connsiteX1" fmla="*/ 1903039 w 2559369"/>
              <a:gd name="connsiteY1" fmla="*/ 0 h 3738009"/>
              <a:gd name="connsiteX2" fmla="*/ 2550405 w 2559369"/>
              <a:gd name="connsiteY2" fmla="*/ 400234 h 3738009"/>
              <a:gd name="connsiteX3" fmla="*/ 2559369 w 2559369"/>
              <a:gd name="connsiteY3" fmla="*/ 3738009 h 3738009"/>
              <a:gd name="connsiteX4" fmla="*/ 0 w 2559369"/>
              <a:gd name="connsiteY4" fmla="*/ 3738009 h 3738009"/>
              <a:gd name="connsiteX5" fmla="*/ 0 w 2559369"/>
              <a:gd name="connsiteY5" fmla="*/ 7257 h 373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59369" h="3738009">
                <a:moveTo>
                  <a:pt x="0" y="7257"/>
                </a:moveTo>
                <a:lnTo>
                  <a:pt x="1903039" y="0"/>
                </a:lnTo>
                <a:lnTo>
                  <a:pt x="2550405" y="400234"/>
                </a:lnTo>
                <a:lnTo>
                  <a:pt x="2559369" y="3738009"/>
                </a:lnTo>
                <a:lnTo>
                  <a:pt x="0" y="3738009"/>
                </a:lnTo>
                <a:lnTo>
                  <a:pt x="0" y="7257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FontTx/>
              <a:buNone/>
              <a:defRPr lang="en-US" sz="1000" dirty="0">
                <a:solidFill>
                  <a:schemeClr val="accent5"/>
                </a:solidFill>
              </a:defRPr>
            </a:lvl1pPr>
          </a:lstStyle>
          <a:p>
            <a:pPr marL="0" lvl="0">
              <a:spcBef>
                <a:spcPts val="800"/>
              </a:spcBef>
            </a:pPr>
            <a:r>
              <a:rPr lang="en-US" dirty="0"/>
              <a:t>Click picture icon to add image</a:t>
            </a: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783355F1-73EC-26D7-5888-043CA961DFD8}"/>
              </a:ext>
            </a:extLst>
          </p:cNvPr>
          <p:cNvGrpSpPr/>
          <p:nvPr userDrawn="1"/>
        </p:nvGrpSpPr>
        <p:grpSpPr>
          <a:xfrm>
            <a:off x="9479695" y="1612232"/>
            <a:ext cx="2338382" cy="4162926"/>
            <a:chOff x="6603439" y="1612232"/>
            <a:chExt cx="2338382" cy="4162926"/>
          </a:xfrm>
        </p:grpSpPr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749F5A03-34E6-9524-A50D-64260FB8E630}"/>
                </a:ext>
              </a:extLst>
            </p:cNvPr>
            <p:cNvGrpSpPr/>
            <p:nvPr userDrawn="1"/>
          </p:nvGrpSpPr>
          <p:grpSpPr>
            <a:xfrm>
              <a:off x="6603439" y="1612232"/>
              <a:ext cx="2338382" cy="4162926"/>
              <a:chOff x="862265" y="1612232"/>
              <a:chExt cx="2338382" cy="4162926"/>
            </a:xfrm>
          </p:grpSpPr>
          <p:grpSp>
            <p:nvGrpSpPr>
              <p:cNvPr id="299" name="Group 298">
                <a:extLst>
                  <a:ext uri="{FF2B5EF4-FFF2-40B4-BE49-F238E27FC236}">
                    <a16:creationId xmlns:a16="http://schemas.microsoft.com/office/drawing/2014/main" id="{DED3E377-E0BB-F294-8344-50F122694203}"/>
                  </a:ext>
                </a:extLst>
              </p:cNvPr>
              <p:cNvGrpSpPr/>
              <p:nvPr userDrawn="1"/>
            </p:nvGrpSpPr>
            <p:grpSpPr>
              <a:xfrm>
                <a:off x="3147504" y="2061539"/>
                <a:ext cx="53143" cy="1085389"/>
                <a:chOff x="2780760" y="2009831"/>
                <a:chExt cx="53143" cy="1085389"/>
              </a:xfrm>
            </p:grpSpPr>
            <p:grpSp>
              <p:nvGrpSpPr>
                <p:cNvPr id="301" name="Graphic 42">
                  <a:extLst>
                    <a:ext uri="{FF2B5EF4-FFF2-40B4-BE49-F238E27FC236}">
                      <a16:creationId xmlns:a16="http://schemas.microsoft.com/office/drawing/2014/main" id="{39A1C890-7A5D-C101-EA3A-6077A2CF3F33}"/>
                    </a:ext>
                  </a:extLst>
                </p:cNvPr>
                <p:cNvGrpSpPr/>
                <p:nvPr userDrawn="1"/>
              </p:nvGrpSpPr>
              <p:grpSpPr>
                <a:xfrm rot="16200000" flipH="1" flipV="1">
                  <a:off x="2482218" y="2310772"/>
                  <a:ext cx="650227" cy="48346"/>
                  <a:chOff x="7926578" y="441451"/>
                  <a:chExt cx="895032" cy="66548"/>
                </a:xfrm>
                <a:solidFill>
                  <a:srgbClr val="75BF43">
                    <a:alpha val="57000"/>
                  </a:srgbClr>
                </a:solidFill>
              </p:grpSpPr>
              <p:sp>
                <p:nvSpPr>
                  <p:cNvPr id="310" name="Freeform: Shape 33">
                    <a:extLst>
                      <a:ext uri="{FF2B5EF4-FFF2-40B4-BE49-F238E27FC236}">
                        <a16:creationId xmlns:a16="http://schemas.microsoft.com/office/drawing/2014/main" id="{55E319B1-A3B2-B14C-23B5-D5B1EFE16535}"/>
                      </a:ext>
                    </a:extLst>
                  </p:cNvPr>
                  <p:cNvSpPr/>
                  <p:nvPr/>
                </p:nvSpPr>
                <p:spPr>
                  <a:xfrm>
                    <a:off x="8479726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1" name="Freeform: Shape 34">
                    <a:extLst>
                      <a:ext uri="{FF2B5EF4-FFF2-40B4-BE49-F238E27FC236}">
                        <a16:creationId xmlns:a16="http://schemas.microsoft.com/office/drawing/2014/main" id="{EA453C38-F190-5862-FFC9-6D84266899A8}"/>
                      </a:ext>
                    </a:extLst>
                  </p:cNvPr>
                  <p:cNvSpPr/>
                  <p:nvPr/>
                </p:nvSpPr>
                <p:spPr>
                  <a:xfrm>
                    <a:off x="843718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2" name="Freeform: Shape 35">
                    <a:extLst>
                      <a:ext uri="{FF2B5EF4-FFF2-40B4-BE49-F238E27FC236}">
                        <a16:creationId xmlns:a16="http://schemas.microsoft.com/office/drawing/2014/main" id="{6832A062-8CAC-79B2-0D97-9673A90ACD90}"/>
                      </a:ext>
                    </a:extLst>
                  </p:cNvPr>
                  <p:cNvSpPr/>
                  <p:nvPr/>
                </p:nvSpPr>
                <p:spPr>
                  <a:xfrm>
                    <a:off x="8394636" y="441451"/>
                    <a:ext cx="89281" cy="66548"/>
                  </a:xfrm>
                  <a:custGeom>
                    <a:avLst/>
                    <a:gdLst>
                      <a:gd name="connsiteX0" fmla="*/ 68707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3" name="Freeform: Shape 36">
                    <a:extLst>
                      <a:ext uri="{FF2B5EF4-FFF2-40B4-BE49-F238E27FC236}">
                        <a16:creationId xmlns:a16="http://schemas.microsoft.com/office/drawing/2014/main" id="{BF21098E-692F-7BE5-53DB-EFAB31E92331}"/>
                      </a:ext>
                    </a:extLst>
                  </p:cNvPr>
                  <p:cNvSpPr/>
                  <p:nvPr/>
                </p:nvSpPr>
                <p:spPr>
                  <a:xfrm>
                    <a:off x="8352091" y="441451"/>
                    <a:ext cx="89280" cy="66548"/>
                  </a:xfrm>
                  <a:custGeom>
                    <a:avLst/>
                    <a:gdLst>
                      <a:gd name="connsiteX0" fmla="*/ 68707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4" name="Freeform: Shape 37">
                    <a:extLst>
                      <a:ext uri="{FF2B5EF4-FFF2-40B4-BE49-F238E27FC236}">
                        <a16:creationId xmlns:a16="http://schemas.microsoft.com/office/drawing/2014/main" id="{FE8CBC63-047F-4380-F897-76EA954882C5}"/>
                      </a:ext>
                    </a:extLst>
                  </p:cNvPr>
                  <p:cNvSpPr/>
                  <p:nvPr/>
                </p:nvSpPr>
                <p:spPr>
                  <a:xfrm>
                    <a:off x="813930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5" name="Freeform: Shape 38">
                    <a:extLst>
                      <a:ext uri="{FF2B5EF4-FFF2-40B4-BE49-F238E27FC236}">
                        <a16:creationId xmlns:a16="http://schemas.microsoft.com/office/drawing/2014/main" id="{D4135910-5028-73F9-83D5-7F221DF1C947}"/>
                      </a:ext>
                    </a:extLst>
                  </p:cNvPr>
                  <p:cNvSpPr/>
                  <p:nvPr/>
                </p:nvSpPr>
                <p:spPr>
                  <a:xfrm>
                    <a:off x="818184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6" name="Freeform: Shape 39">
                    <a:extLst>
                      <a:ext uri="{FF2B5EF4-FFF2-40B4-BE49-F238E27FC236}">
                        <a16:creationId xmlns:a16="http://schemas.microsoft.com/office/drawing/2014/main" id="{1D1B19DC-3430-D679-3738-B4DFDDB2C1BE}"/>
                      </a:ext>
                    </a:extLst>
                  </p:cNvPr>
                  <p:cNvSpPr/>
                  <p:nvPr/>
                </p:nvSpPr>
                <p:spPr>
                  <a:xfrm>
                    <a:off x="8267001" y="441451"/>
                    <a:ext cx="89280" cy="66548"/>
                  </a:xfrm>
                  <a:custGeom>
                    <a:avLst/>
                    <a:gdLst>
                      <a:gd name="connsiteX0" fmla="*/ 68643 w 89280"/>
                      <a:gd name="connsiteY0" fmla="*/ 0 h 66548"/>
                      <a:gd name="connsiteX1" fmla="*/ 0 w 89280"/>
                      <a:gd name="connsiteY1" fmla="*/ 66548 h 66548"/>
                      <a:gd name="connsiteX2" fmla="*/ 20574 w 89280"/>
                      <a:gd name="connsiteY2" fmla="*/ 66548 h 66548"/>
                      <a:gd name="connsiteX3" fmla="*/ 89281 w 89280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0" h="66548">
                        <a:moveTo>
                          <a:pt x="68643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7" name="Freeform: Shape 40">
                    <a:extLst>
                      <a:ext uri="{FF2B5EF4-FFF2-40B4-BE49-F238E27FC236}">
                        <a16:creationId xmlns:a16="http://schemas.microsoft.com/office/drawing/2014/main" id="{A81854D1-B5E7-A190-109D-FC31726E2A5F}"/>
                      </a:ext>
                    </a:extLst>
                  </p:cNvPr>
                  <p:cNvSpPr/>
                  <p:nvPr/>
                </p:nvSpPr>
                <p:spPr>
                  <a:xfrm>
                    <a:off x="822439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8" name="Freeform: Shape 41">
                    <a:extLst>
                      <a:ext uri="{FF2B5EF4-FFF2-40B4-BE49-F238E27FC236}">
                        <a16:creationId xmlns:a16="http://schemas.microsoft.com/office/drawing/2014/main" id="{9C64E827-AACB-C162-3431-C24DCA9664B9}"/>
                      </a:ext>
                    </a:extLst>
                  </p:cNvPr>
                  <p:cNvSpPr/>
                  <p:nvPr/>
                </p:nvSpPr>
                <p:spPr>
                  <a:xfrm>
                    <a:off x="8309546" y="441451"/>
                    <a:ext cx="89281" cy="66548"/>
                  </a:xfrm>
                  <a:custGeom>
                    <a:avLst/>
                    <a:gdLst>
                      <a:gd name="connsiteX0" fmla="*/ 68644 w 89281"/>
                      <a:gd name="connsiteY0" fmla="*/ 0 h 66548"/>
                      <a:gd name="connsiteX1" fmla="*/ 0 w 89281"/>
                      <a:gd name="connsiteY1" fmla="*/ 66548 h 66548"/>
                      <a:gd name="connsiteX2" fmla="*/ 20574 w 89281"/>
                      <a:gd name="connsiteY2" fmla="*/ 66548 h 66548"/>
                      <a:gd name="connsiteX3" fmla="*/ 89281 w 89281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281" h="66548">
                        <a:moveTo>
                          <a:pt x="68644" y="0"/>
                        </a:moveTo>
                        <a:lnTo>
                          <a:pt x="0" y="66548"/>
                        </a:lnTo>
                        <a:lnTo>
                          <a:pt x="20574" y="66548"/>
                        </a:lnTo>
                        <a:lnTo>
                          <a:pt x="89281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9" name="Freeform: Shape 42">
                    <a:extLst>
                      <a:ext uri="{FF2B5EF4-FFF2-40B4-BE49-F238E27FC236}">
                        <a16:creationId xmlns:a16="http://schemas.microsoft.com/office/drawing/2014/main" id="{10A85175-C092-E948-7D08-8AB1AB2D0F76}"/>
                      </a:ext>
                    </a:extLst>
                  </p:cNvPr>
                  <p:cNvSpPr/>
                  <p:nvPr/>
                </p:nvSpPr>
                <p:spPr>
                  <a:xfrm>
                    <a:off x="8522271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0" name="Freeform: Shape 43">
                    <a:extLst>
                      <a:ext uri="{FF2B5EF4-FFF2-40B4-BE49-F238E27FC236}">
                        <a16:creationId xmlns:a16="http://schemas.microsoft.com/office/drawing/2014/main" id="{AFDEB71B-C3D7-E5D2-5C72-45B38AA625FA}"/>
                      </a:ext>
                    </a:extLst>
                  </p:cNvPr>
                  <p:cNvSpPr/>
                  <p:nvPr/>
                </p:nvSpPr>
                <p:spPr>
                  <a:xfrm>
                    <a:off x="869397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1" name="Freeform: Shape 44">
                    <a:extLst>
                      <a:ext uri="{FF2B5EF4-FFF2-40B4-BE49-F238E27FC236}">
                        <a16:creationId xmlns:a16="http://schemas.microsoft.com/office/drawing/2014/main" id="{000DD5EA-35E6-1E65-54F0-3A47E16AAC9C}"/>
                      </a:ext>
                    </a:extLst>
                  </p:cNvPr>
                  <p:cNvSpPr/>
                  <p:nvPr/>
                </p:nvSpPr>
                <p:spPr>
                  <a:xfrm>
                    <a:off x="8821610" y="508000"/>
                    <a:ext cx="6350" cy="6350"/>
                  </a:xfrm>
                  <a:custGeom>
                    <a:avLst/>
                    <a:gdLst>
                      <a:gd name="connsiteX0" fmla="*/ 0 w 6350"/>
                      <a:gd name="connsiteY0" fmla="*/ 0 h 6350"/>
                      <a:gd name="connsiteX1" fmla="*/ 0 w 6350"/>
                      <a:gd name="connsiteY1" fmla="*/ 0 h 6350"/>
                      <a:gd name="connsiteX2" fmla="*/ 0 w 6350"/>
                      <a:gd name="connsiteY2" fmla="*/ 0 h 6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350" h="6350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2" name="Freeform: Shape 45">
                    <a:extLst>
                      <a:ext uri="{FF2B5EF4-FFF2-40B4-BE49-F238E27FC236}">
                        <a16:creationId xmlns:a16="http://schemas.microsoft.com/office/drawing/2014/main" id="{E35E6EB3-F66B-C8E6-DFD4-6BF2326CC85F}"/>
                      </a:ext>
                    </a:extLst>
                  </p:cNvPr>
                  <p:cNvSpPr/>
                  <p:nvPr/>
                </p:nvSpPr>
                <p:spPr>
                  <a:xfrm>
                    <a:off x="8564816" y="441451"/>
                    <a:ext cx="90868" cy="66548"/>
                  </a:xfrm>
                  <a:custGeom>
                    <a:avLst/>
                    <a:gdLst>
                      <a:gd name="connsiteX0" fmla="*/ 68707 w 90868"/>
                      <a:gd name="connsiteY0" fmla="*/ 0 h 66548"/>
                      <a:gd name="connsiteX1" fmla="*/ 0 w 90868"/>
                      <a:gd name="connsiteY1" fmla="*/ 66548 h 66548"/>
                      <a:gd name="connsiteX2" fmla="*/ 22161 w 90868"/>
                      <a:gd name="connsiteY2" fmla="*/ 66548 h 66548"/>
                      <a:gd name="connsiteX3" fmla="*/ 90868 w 90868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0868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2161" y="66548"/>
                        </a:lnTo>
                        <a:lnTo>
                          <a:pt x="90868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3" name="Freeform: Shape 46">
                    <a:extLst>
                      <a:ext uri="{FF2B5EF4-FFF2-40B4-BE49-F238E27FC236}">
                        <a16:creationId xmlns:a16="http://schemas.microsoft.com/office/drawing/2014/main" id="{34A70CD7-1D10-633B-FCA6-DE18F07F3AFE}"/>
                      </a:ext>
                    </a:extLst>
                  </p:cNvPr>
                  <p:cNvSpPr/>
                  <p:nvPr/>
                </p:nvSpPr>
                <p:spPr>
                  <a:xfrm>
                    <a:off x="8651430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4" name="Freeform: Shape 47">
                    <a:extLst>
                      <a:ext uri="{FF2B5EF4-FFF2-40B4-BE49-F238E27FC236}">
                        <a16:creationId xmlns:a16="http://schemas.microsoft.com/office/drawing/2014/main" id="{2FA5D3BC-D954-52B6-3C85-6D2B434EA21A}"/>
                      </a:ext>
                    </a:extLst>
                  </p:cNvPr>
                  <p:cNvSpPr/>
                  <p:nvPr/>
                </p:nvSpPr>
                <p:spPr>
                  <a:xfrm>
                    <a:off x="8608885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5" name="Freeform: Shape 48">
                    <a:extLst>
                      <a:ext uri="{FF2B5EF4-FFF2-40B4-BE49-F238E27FC236}">
                        <a16:creationId xmlns:a16="http://schemas.microsoft.com/office/drawing/2014/main" id="{01B72E5E-EE8F-6426-9341-3171833610F7}"/>
                      </a:ext>
                    </a:extLst>
                  </p:cNvPr>
                  <p:cNvSpPr/>
                  <p:nvPr/>
                </p:nvSpPr>
                <p:spPr>
                  <a:xfrm>
                    <a:off x="8096757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6" name="Freeform: Shape 49">
                    <a:extLst>
                      <a:ext uri="{FF2B5EF4-FFF2-40B4-BE49-F238E27FC236}">
                        <a16:creationId xmlns:a16="http://schemas.microsoft.com/office/drawing/2014/main" id="{9A06CF65-FDCB-ECB6-4D0A-781D21AC206A}"/>
                      </a:ext>
                    </a:extLst>
                  </p:cNvPr>
                  <p:cNvSpPr/>
                  <p:nvPr/>
                </p:nvSpPr>
                <p:spPr>
                  <a:xfrm>
                    <a:off x="801166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7" name="Freeform: Shape 50">
                    <a:extLst>
                      <a:ext uri="{FF2B5EF4-FFF2-40B4-BE49-F238E27FC236}">
                        <a16:creationId xmlns:a16="http://schemas.microsoft.com/office/drawing/2014/main" id="{2D274FD1-4CCA-85EB-EB6B-051E882D0ABA}"/>
                      </a:ext>
                    </a:extLst>
                  </p:cNvPr>
                  <p:cNvSpPr/>
                  <p:nvPr/>
                </p:nvSpPr>
                <p:spPr>
                  <a:xfrm>
                    <a:off x="8054213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8" name="Freeform: Shape 51">
                    <a:extLst>
                      <a:ext uri="{FF2B5EF4-FFF2-40B4-BE49-F238E27FC236}">
                        <a16:creationId xmlns:a16="http://schemas.microsoft.com/office/drawing/2014/main" id="{666EBB35-C55E-722D-1E8E-9628924D9BDF}"/>
                      </a:ext>
                    </a:extLst>
                  </p:cNvPr>
                  <p:cNvSpPr/>
                  <p:nvPr/>
                </p:nvSpPr>
                <p:spPr>
                  <a:xfrm>
                    <a:off x="7969122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5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5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9" name="Freeform: Shape 52">
                    <a:extLst>
                      <a:ext uri="{FF2B5EF4-FFF2-40B4-BE49-F238E27FC236}">
                        <a16:creationId xmlns:a16="http://schemas.microsoft.com/office/drawing/2014/main" id="{EAACA669-9B2A-8F06-2CDA-87BCAB11F491}"/>
                      </a:ext>
                    </a:extLst>
                  </p:cNvPr>
                  <p:cNvSpPr/>
                  <p:nvPr/>
                </p:nvSpPr>
                <p:spPr>
                  <a:xfrm>
                    <a:off x="7926578" y="441451"/>
                    <a:ext cx="89344" cy="66548"/>
                  </a:xfrm>
                  <a:custGeom>
                    <a:avLst/>
                    <a:gdLst>
                      <a:gd name="connsiteX0" fmla="*/ 68707 w 89344"/>
                      <a:gd name="connsiteY0" fmla="*/ 0 h 66548"/>
                      <a:gd name="connsiteX1" fmla="*/ 0 w 89344"/>
                      <a:gd name="connsiteY1" fmla="*/ 66548 h 66548"/>
                      <a:gd name="connsiteX2" fmla="*/ 20638 w 89344"/>
                      <a:gd name="connsiteY2" fmla="*/ 66548 h 66548"/>
                      <a:gd name="connsiteX3" fmla="*/ 89344 w 89344"/>
                      <a:gd name="connsiteY3" fmla="*/ 0 h 66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9344" h="66548">
                        <a:moveTo>
                          <a:pt x="68707" y="0"/>
                        </a:moveTo>
                        <a:lnTo>
                          <a:pt x="0" y="66548"/>
                        </a:lnTo>
                        <a:lnTo>
                          <a:pt x="20638" y="66548"/>
                        </a:lnTo>
                        <a:lnTo>
                          <a:pt x="89344" y="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02" name="Group 301">
                  <a:extLst>
                    <a:ext uri="{FF2B5EF4-FFF2-40B4-BE49-F238E27FC236}">
                      <a16:creationId xmlns:a16="http://schemas.microsoft.com/office/drawing/2014/main" id="{F7EE04BF-D1BF-4612-8673-FDE750B685BE}"/>
                    </a:ext>
                  </a:extLst>
                </p:cNvPr>
                <p:cNvGrpSpPr/>
                <p:nvPr userDrawn="1"/>
              </p:nvGrpSpPr>
              <p:grpSpPr>
                <a:xfrm rot="10800000" flipV="1">
                  <a:off x="2780760" y="2715971"/>
                  <a:ext cx="53143" cy="379249"/>
                  <a:chOff x="5390750" y="3681616"/>
                  <a:chExt cx="73151" cy="522033"/>
                </a:xfrm>
              </p:grpSpPr>
              <p:sp>
                <p:nvSpPr>
                  <p:cNvPr id="303" name="Freeform: Shape 26">
                    <a:extLst>
                      <a:ext uri="{FF2B5EF4-FFF2-40B4-BE49-F238E27FC236}">
                        <a16:creationId xmlns:a16="http://schemas.microsoft.com/office/drawing/2014/main" id="{7BC1CF32-04D0-5CCB-3FCD-900526F182C6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5100" y="3681616"/>
                    <a:ext cx="43688" cy="43687"/>
                  </a:xfrm>
                  <a:custGeom>
                    <a:avLst/>
                    <a:gdLst>
                      <a:gd name="connsiteX0" fmla="*/ 0 w 43688"/>
                      <a:gd name="connsiteY0" fmla="*/ 0 h 43687"/>
                      <a:gd name="connsiteX1" fmla="*/ 43688 w 43688"/>
                      <a:gd name="connsiteY1" fmla="*/ 0 h 43687"/>
                      <a:gd name="connsiteX2" fmla="*/ 43688 w 43688"/>
                      <a:gd name="connsiteY2" fmla="*/ 43688 h 43687"/>
                      <a:gd name="connsiteX3" fmla="*/ 0 w 43688"/>
                      <a:gd name="connsiteY3" fmla="*/ 43688 h 436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688" h="43687">
                        <a:moveTo>
                          <a:pt x="0" y="0"/>
                        </a:moveTo>
                        <a:lnTo>
                          <a:pt x="43688" y="0"/>
                        </a:lnTo>
                        <a:lnTo>
                          <a:pt x="43688" y="43688"/>
                        </a:lnTo>
                        <a:lnTo>
                          <a:pt x="0" y="43688"/>
                        </a:lnTo>
                        <a:close/>
                      </a:path>
                    </a:pathLst>
                  </a:custGeom>
                  <a:noFill/>
                  <a:ln w="3175" cap="flat">
                    <a:solidFill>
                      <a:schemeClr val="bg1">
                        <a:lumMod val="50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: Shape 27">
                    <a:extLst>
                      <a:ext uri="{FF2B5EF4-FFF2-40B4-BE49-F238E27FC236}">
                        <a16:creationId xmlns:a16="http://schemas.microsoft.com/office/drawing/2014/main" id="{A88DF581-81A4-3C2A-C228-A4D5A593EE08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81062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: Shape 28">
                    <a:extLst>
                      <a:ext uri="{FF2B5EF4-FFF2-40B4-BE49-F238E27FC236}">
                        <a16:creationId xmlns:a16="http://schemas.microsoft.com/office/drawing/2014/main" id="{5680C2F6-5DD0-B105-8740-580A9827E891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4021394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: Shape 29">
                    <a:extLst>
                      <a:ext uri="{FF2B5EF4-FFF2-40B4-BE49-F238E27FC236}">
                        <a16:creationId xmlns:a16="http://schemas.microsoft.com/office/drawing/2014/main" id="{1DD26439-9E61-323C-830D-2D3145C6317B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02056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7" name="Freeform: Shape 30">
                    <a:extLst>
                      <a:ext uri="{FF2B5EF4-FFF2-40B4-BE49-F238E27FC236}">
                        <a16:creationId xmlns:a16="http://schemas.microsoft.com/office/drawing/2014/main" id="{1203A586-196F-670D-4A4B-BE27CBBA7CB4}"/>
                      </a:ext>
                    </a:extLst>
                  </p:cNvPr>
                  <p:cNvSpPr/>
                  <p:nvPr/>
                </p:nvSpPr>
                <p:spPr>
                  <a:xfrm rot="10800000" flipH="1">
                    <a:off x="5407069" y="4165549"/>
                    <a:ext cx="42418" cy="38100"/>
                  </a:xfrm>
                  <a:custGeom>
                    <a:avLst/>
                    <a:gdLst>
                      <a:gd name="connsiteX0" fmla="*/ 0 w 42418"/>
                      <a:gd name="connsiteY0" fmla="*/ 0 h 38100"/>
                      <a:gd name="connsiteX1" fmla="*/ 42418 w 42418"/>
                      <a:gd name="connsiteY1" fmla="*/ 0 h 38100"/>
                      <a:gd name="connsiteX2" fmla="*/ 42418 w 42418"/>
                      <a:gd name="connsiteY2" fmla="*/ 38100 h 38100"/>
                      <a:gd name="connsiteX3" fmla="*/ 0 w 42418"/>
                      <a:gd name="connsiteY3" fmla="*/ 38100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418" h="38100">
                        <a:moveTo>
                          <a:pt x="0" y="0"/>
                        </a:moveTo>
                        <a:lnTo>
                          <a:pt x="42418" y="0"/>
                        </a:lnTo>
                        <a:lnTo>
                          <a:pt x="42418" y="38100"/>
                        </a:lnTo>
                        <a:lnTo>
                          <a:pt x="0" y="3810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8" name="Freeform: Shape 31">
                    <a:extLst>
                      <a:ext uri="{FF2B5EF4-FFF2-40B4-BE49-F238E27FC236}">
                        <a16:creationId xmlns:a16="http://schemas.microsoft.com/office/drawing/2014/main" id="{7F4FFCCA-190E-D42F-227F-3E075C34F03F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07387" y="3776295"/>
                    <a:ext cx="39878" cy="73151"/>
                  </a:xfrm>
                  <a:custGeom>
                    <a:avLst/>
                    <a:gdLst>
                      <a:gd name="connsiteX0" fmla="*/ 39878 w 39878"/>
                      <a:gd name="connsiteY0" fmla="*/ 38671 h 73151"/>
                      <a:gd name="connsiteX1" fmla="*/ 2413 w 39878"/>
                      <a:gd name="connsiteY1" fmla="*/ 73152 h 73151"/>
                      <a:gd name="connsiteX2" fmla="*/ 0 w 39878"/>
                      <a:gd name="connsiteY2" fmla="*/ 69913 h 73151"/>
                      <a:gd name="connsiteX3" fmla="*/ 36131 w 39878"/>
                      <a:gd name="connsiteY3" fmla="*/ 36576 h 73151"/>
                      <a:gd name="connsiteX4" fmla="*/ 0 w 39878"/>
                      <a:gd name="connsiteY4" fmla="*/ 3238 h 73151"/>
                      <a:gd name="connsiteX5" fmla="*/ 2413 w 39878"/>
                      <a:gd name="connsiteY5" fmla="*/ 0 h 73151"/>
                      <a:gd name="connsiteX6" fmla="*/ 39878 w 39878"/>
                      <a:gd name="connsiteY6" fmla="*/ 34481 h 73151"/>
                      <a:gd name="connsiteX7" fmla="*/ 39878 w 39878"/>
                      <a:gd name="connsiteY7" fmla="*/ 38671 h 73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878" h="73151">
                        <a:moveTo>
                          <a:pt x="39878" y="38671"/>
                        </a:moveTo>
                        <a:lnTo>
                          <a:pt x="2413" y="73152"/>
                        </a:lnTo>
                        <a:lnTo>
                          <a:pt x="0" y="69913"/>
                        </a:lnTo>
                        <a:lnTo>
                          <a:pt x="36131" y="36576"/>
                        </a:lnTo>
                        <a:lnTo>
                          <a:pt x="0" y="3238"/>
                        </a:lnTo>
                        <a:lnTo>
                          <a:pt x="2413" y="0"/>
                        </a:lnTo>
                        <a:lnTo>
                          <a:pt x="39878" y="34481"/>
                        </a:lnTo>
                        <a:lnTo>
                          <a:pt x="39878" y="38671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9" name="Freeform: Shape 32">
                    <a:extLst>
                      <a:ext uri="{FF2B5EF4-FFF2-40B4-BE49-F238E27FC236}">
                        <a16:creationId xmlns:a16="http://schemas.microsoft.com/office/drawing/2014/main" id="{34A0F86B-C6DE-975F-3D3A-3D25178E9A51}"/>
                      </a:ext>
                    </a:extLst>
                  </p:cNvPr>
                  <p:cNvSpPr/>
                  <p:nvPr/>
                </p:nvSpPr>
                <p:spPr>
                  <a:xfrm rot="16200000" flipH="1">
                    <a:off x="5426469" y="3961725"/>
                    <a:ext cx="4381" cy="41656"/>
                  </a:xfrm>
                  <a:custGeom>
                    <a:avLst/>
                    <a:gdLst>
                      <a:gd name="connsiteX0" fmla="*/ 0 w 4381"/>
                      <a:gd name="connsiteY0" fmla="*/ 0 h 41656"/>
                      <a:gd name="connsiteX1" fmla="*/ 4381 w 4381"/>
                      <a:gd name="connsiteY1" fmla="*/ 0 h 41656"/>
                      <a:gd name="connsiteX2" fmla="*/ 4381 w 4381"/>
                      <a:gd name="connsiteY2" fmla="*/ 41656 h 41656"/>
                      <a:gd name="connsiteX3" fmla="*/ 0 w 4381"/>
                      <a:gd name="connsiteY3" fmla="*/ 41656 h 41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381" h="41656">
                        <a:moveTo>
                          <a:pt x="0" y="0"/>
                        </a:moveTo>
                        <a:lnTo>
                          <a:pt x="4381" y="0"/>
                        </a:lnTo>
                        <a:lnTo>
                          <a:pt x="4381" y="41656"/>
                        </a:lnTo>
                        <a:lnTo>
                          <a:pt x="0" y="416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635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10867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D4647"/>
                      </a:solidFill>
                      <a:effectLst/>
                      <a:uLnTx/>
                      <a:uFillTx/>
                      <a:latin typeface="PTCRaleway" panose="020B0503030101060003" pitchFamily="34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00" name="Freeform 13">
                <a:extLst>
                  <a:ext uri="{FF2B5EF4-FFF2-40B4-BE49-F238E27FC236}">
                    <a16:creationId xmlns:a16="http://schemas.microsoft.com/office/drawing/2014/main" id="{B6ADA8B0-F03D-6550-CAD4-259475E705EE}"/>
                  </a:ext>
                </a:extLst>
              </p:cNvPr>
              <p:cNvSpPr/>
              <p:nvPr userDrawn="1"/>
            </p:nvSpPr>
            <p:spPr>
              <a:xfrm>
                <a:off x="862265" y="1612232"/>
                <a:ext cx="2224760" cy="4162926"/>
              </a:xfrm>
              <a:custGeom>
                <a:avLst/>
                <a:gdLst>
                  <a:gd name="connsiteX0" fmla="*/ 0 w 2317531"/>
                  <a:gd name="connsiteY0" fmla="*/ 0 h 4193627"/>
                  <a:gd name="connsiteX1" fmla="*/ 1923393 w 2317531"/>
                  <a:gd name="connsiteY1" fmla="*/ 0 h 4193627"/>
                  <a:gd name="connsiteX2" fmla="*/ 2317531 w 2317531"/>
                  <a:gd name="connsiteY2" fmla="*/ 394138 h 4193627"/>
                  <a:gd name="connsiteX3" fmla="*/ 2317531 w 2317531"/>
                  <a:gd name="connsiteY3" fmla="*/ 4193627 h 4193627"/>
                  <a:gd name="connsiteX4" fmla="*/ 2104696 w 2317531"/>
                  <a:gd name="connsiteY4" fmla="*/ 4193627 h 4193627"/>
                  <a:gd name="connsiteX5" fmla="*/ 23648 w 2317531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302286 w 2302286"/>
                  <a:gd name="connsiteY2" fmla="*/ 39413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1 w 2302286"/>
                  <a:gd name="connsiteY2" fmla="*/ 352451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7872 w 2302286"/>
                  <a:gd name="connsiteY2" fmla="*/ 366347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5 w 2302286"/>
                  <a:gd name="connsiteY2" fmla="*/ 352452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08148 w 2302286"/>
                  <a:gd name="connsiteY1" fmla="*/ 0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80606 w 2302286"/>
                  <a:gd name="connsiteY2" fmla="*/ 359400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898743 w 2302286"/>
                  <a:gd name="connsiteY1" fmla="*/ 2259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1202 w 2302286"/>
                  <a:gd name="connsiteY2" fmla="*/ 366178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64230 w 2302286"/>
                  <a:gd name="connsiteY2" fmla="*/ 498136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302286"/>
                  <a:gd name="connsiteY0" fmla="*/ 0 h 4193627"/>
                  <a:gd name="connsiteX1" fmla="*/ 1954513 w 2302286"/>
                  <a:gd name="connsiteY1" fmla="*/ 7757 h 4193627"/>
                  <a:gd name="connsiteX2" fmla="*/ 2274687 w 2302286"/>
                  <a:gd name="connsiteY2" fmla="*/ 503634 h 4193627"/>
                  <a:gd name="connsiteX3" fmla="*/ 2302286 w 2302286"/>
                  <a:gd name="connsiteY3" fmla="*/ 4193627 h 4193627"/>
                  <a:gd name="connsiteX4" fmla="*/ 2089451 w 2302286"/>
                  <a:gd name="connsiteY4" fmla="*/ 4193627 h 4193627"/>
                  <a:gd name="connsiteX5" fmla="*/ 8403 w 2302286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954513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4687 w 2291829"/>
                  <a:gd name="connsiteY2" fmla="*/ 50363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10164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2003311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9997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88884 w 2291829"/>
                  <a:gd name="connsiteY1" fmla="*/ 7757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68239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38210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0 h 4193627"/>
                  <a:gd name="connsiteX1" fmla="*/ 1849471 w 2291829"/>
                  <a:gd name="connsiteY1" fmla="*/ 4796 h 4193627"/>
                  <a:gd name="connsiteX2" fmla="*/ 2271201 w 2291829"/>
                  <a:gd name="connsiteY2" fmla="*/ 426659 h 4193627"/>
                  <a:gd name="connsiteX3" fmla="*/ 2291829 w 2291829"/>
                  <a:gd name="connsiteY3" fmla="*/ 4193627 h 4193627"/>
                  <a:gd name="connsiteX4" fmla="*/ 2089451 w 2291829"/>
                  <a:gd name="connsiteY4" fmla="*/ 4193627 h 4193627"/>
                  <a:gd name="connsiteX5" fmla="*/ 8403 w 2291829"/>
                  <a:gd name="connsiteY5" fmla="*/ 4193627 h 4193627"/>
                  <a:gd name="connsiteX0" fmla="*/ 0 w 2291829"/>
                  <a:gd name="connsiteY0" fmla="*/ 7046 h 4200673"/>
                  <a:gd name="connsiteX1" fmla="*/ 1856979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1817330 w 2291829"/>
                  <a:gd name="connsiteY1" fmla="*/ 0 h 4200673"/>
                  <a:gd name="connsiteX2" fmla="*/ 2271201 w 2291829"/>
                  <a:gd name="connsiteY2" fmla="*/ 433705 h 4200673"/>
                  <a:gd name="connsiteX3" fmla="*/ 2291829 w 2291829"/>
                  <a:gd name="connsiteY3" fmla="*/ 4200673 h 4200673"/>
                  <a:gd name="connsiteX4" fmla="*/ 2089451 w 2291829"/>
                  <a:gd name="connsiteY4" fmla="*/ 4200673 h 4200673"/>
                  <a:gd name="connsiteX5" fmla="*/ 8403 w 2291829"/>
                  <a:gd name="connsiteY5" fmla="*/ 4200673 h 4200673"/>
                  <a:gd name="connsiteX0" fmla="*/ 0 w 2291829"/>
                  <a:gd name="connsiteY0" fmla="*/ 7046 h 4200673"/>
                  <a:gd name="connsiteX1" fmla="*/ 579941 w 2291829"/>
                  <a:gd name="connsiteY1" fmla="*/ 8817 h 4200673"/>
                  <a:gd name="connsiteX2" fmla="*/ 1817330 w 2291829"/>
                  <a:gd name="connsiteY2" fmla="*/ 0 h 4200673"/>
                  <a:gd name="connsiteX3" fmla="*/ 2271201 w 2291829"/>
                  <a:gd name="connsiteY3" fmla="*/ 433705 h 4200673"/>
                  <a:gd name="connsiteX4" fmla="*/ 2291829 w 2291829"/>
                  <a:gd name="connsiteY4" fmla="*/ 4200673 h 4200673"/>
                  <a:gd name="connsiteX5" fmla="*/ 2089451 w 2291829"/>
                  <a:gd name="connsiteY5" fmla="*/ 4200673 h 4200673"/>
                  <a:gd name="connsiteX6" fmla="*/ 8403 w 2291829"/>
                  <a:gd name="connsiteY6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0 w 2283426"/>
                  <a:gd name="connsiteY5" fmla="*/ 4200673 h 4200673"/>
                  <a:gd name="connsiteX0" fmla="*/ 571538 w 2283426"/>
                  <a:gd name="connsiteY0" fmla="*/ 8817 h 4200673"/>
                  <a:gd name="connsiteX1" fmla="*/ 1808927 w 2283426"/>
                  <a:gd name="connsiteY1" fmla="*/ 0 h 4200673"/>
                  <a:gd name="connsiteX2" fmla="*/ 2262798 w 2283426"/>
                  <a:gd name="connsiteY2" fmla="*/ 433705 h 4200673"/>
                  <a:gd name="connsiteX3" fmla="*/ 2283426 w 2283426"/>
                  <a:gd name="connsiteY3" fmla="*/ 4200673 h 4200673"/>
                  <a:gd name="connsiteX4" fmla="*/ 2081048 w 2283426"/>
                  <a:gd name="connsiteY4" fmla="*/ 4200673 h 4200673"/>
                  <a:gd name="connsiteX5" fmla="*/ 539006 w 2283426"/>
                  <a:gd name="connsiteY5" fmla="*/ 4196286 h 4200673"/>
                  <a:gd name="connsiteX6" fmla="*/ 0 w 2283426"/>
                  <a:gd name="connsiteY6" fmla="*/ 4200673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0 w 1744420"/>
                  <a:gd name="connsiteY5" fmla="*/ 4196286 h 4200673"/>
                  <a:gd name="connsiteX0" fmla="*/ 32532 w 1744420"/>
                  <a:gd name="connsiteY0" fmla="*/ 8817 h 4200673"/>
                  <a:gd name="connsiteX1" fmla="*/ 1269921 w 1744420"/>
                  <a:gd name="connsiteY1" fmla="*/ 0 h 4200673"/>
                  <a:gd name="connsiteX2" fmla="*/ 1723792 w 1744420"/>
                  <a:gd name="connsiteY2" fmla="*/ 433705 h 4200673"/>
                  <a:gd name="connsiteX3" fmla="*/ 1744420 w 1744420"/>
                  <a:gd name="connsiteY3" fmla="*/ 4200673 h 4200673"/>
                  <a:gd name="connsiteX4" fmla="*/ 1542042 w 1744420"/>
                  <a:gd name="connsiteY4" fmla="*/ 4200673 h 4200673"/>
                  <a:gd name="connsiteX5" fmla="*/ 23716 w 1744420"/>
                  <a:gd name="connsiteY5" fmla="*/ 4199431 h 4200673"/>
                  <a:gd name="connsiteX6" fmla="*/ 0 w 1744420"/>
                  <a:gd name="connsiteY6" fmla="*/ 4196286 h 4200673"/>
                  <a:gd name="connsiteX0" fmla="*/ 8816 w 1720704"/>
                  <a:gd name="connsiteY0" fmla="*/ 8817 h 4200673"/>
                  <a:gd name="connsiteX1" fmla="*/ 1246205 w 1720704"/>
                  <a:gd name="connsiteY1" fmla="*/ 0 h 4200673"/>
                  <a:gd name="connsiteX2" fmla="*/ 1700076 w 1720704"/>
                  <a:gd name="connsiteY2" fmla="*/ 433705 h 4200673"/>
                  <a:gd name="connsiteX3" fmla="*/ 1720704 w 1720704"/>
                  <a:gd name="connsiteY3" fmla="*/ 4200673 h 4200673"/>
                  <a:gd name="connsiteX4" fmla="*/ 1518326 w 1720704"/>
                  <a:gd name="connsiteY4" fmla="*/ 4200673 h 4200673"/>
                  <a:gd name="connsiteX5" fmla="*/ 0 w 1720704"/>
                  <a:gd name="connsiteY5" fmla="*/ 4199431 h 4200673"/>
                  <a:gd name="connsiteX0" fmla="*/ 102 w 1720704"/>
                  <a:gd name="connsiteY0" fmla="*/ 0 h 4202853"/>
                  <a:gd name="connsiteX1" fmla="*/ 1246205 w 1720704"/>
                  <a:gd name="connsiteY1" fmla="*/ 2180 h 4202853"/>
                  <a:gd name="connsiteX2" fmla="*/ 1700076 w 1720704"/>
                  <a:gd name="connsiteY2" fmla="*/ 435885 h 4202853"/>
                  <a:gd name="connsiteX3" fmla="*/ 1720704 w 1720704"/>
                  <a:gd name="connsiteY3" fmla="*/ 4202853 h 4202853"/>
                  <a:gd name="connsiteX4" fmla="*/ 1518326 w 1720704"/>
                  <a:gd name="connsiteY4" fmla="*/ 4202853 h 4202853"/>
                  <a:gd name="connsiteX5" fmla="*/ 0 w 1720704"/>
                  <a:gd name="connsiteY5" fmla="*/ 4201611 h 4202853"/>
                  <a:gd name="connsiteX0" fmla="*/ 102 w 1720704"/>
                  <a:gd name="connsiteY0" fmla="*/ 0 h 4202853"/>
                  <a:gd name="connsiteX1" fmla="*/ 212558 w 1720704"/>
                  <a:gd name="connsiteY1" fmla="*/ 1544 h 4202853"/>
                  <a:gd name="connsiteX2" fmla="*/ 1246205 w 1720704"/>
                  <a:gd name="connsiteY2" fmla="*/ 2180 h 4202853"/>
                  <a:gd name="connsiteX3" fmla="*/ 1700076 w 1720704"/>
                  <a:gd name="connsiteY3" fmla="*/ 435885 h 4202853"/>
                  <a:gd name="connsiteX4" fmla="*/ 1720704 w 1720704"/>
                  <a:gd name="connsiteY4" fmla="*/ 4202853 h 4202853"/>
                  <a:gd name="connsiteX5" fmla="*/ 1518326 w 1720704"/>
                  <a:gd name="connsiteY5" fmla="*/ 4202853 h 4202853"/>
                  <a:gd name="connsiteX6" fmla="*/ 0 w 1720704"/>
                  <a:gd name="connsiteY6" fmla="*/ 4201611 h 4202853"/>
                  <a:gd name="connsiteX0" fmla="*/ 212558 w 1720704"/>
                  <a:gd name="connsiteY0" fmla="*/ 0 h 4201309"/>
                  <a:gd name="connsiteX1" fmla="*/ 1246205 w 1720704"/>
                  <a:gd name="connsiteY1" fmla="*/ 636 h 4201309"/>
                  <a:gd name="connsiteX2" fmla="*/ 1700076 w 1720704"/>
                  <a:gd name="connsiteY2" fmla="*/ 434341 h 4201309"/>
                  <a:gd name="connsiteX3" fmla="*/ 1720704 w 1720704"/>
                  <a:gd name="connsiteY3" fmla="*/ 4201309 h 4201309"/>
                  <a:gd name="connsiteX4" fmla="*/ 1518326 w 1720704"/>
                  <a:gd name="connsiteY4" fmla="*/ 4201309 h 4201309"/>
                  <a:gd name="connsiteX5" fmla="*/ 0 w 1720704"/>
                  <a:gd name="connsiteY5" fmla="*/ 4200067 h 4201309"/>
                  <a:gd name="connsiteX0" fmla="*/ 212558 w 1720704"/>
                  <a:gd name="connsiteY0" fmla="*/ 0 h 4205294"/>
                  <a:gd name="connsiteX1" fmla="*/ 1246205 w 1720704"/>
                  <a:gd name="connsiteY1" fmla="*/ 636 h 4205294"/>
                  <a:gd name="connsiteX2" fmla="*/ 1700076 w 1720704"/>
                  <a:gd name="connsiteY2" fmla="*/ 434341 h 4205294"/>
                  <a:gd name="connsiteX3" fmla="*/ 1720704 w 1720704"/>
                  <a:gd name="connsiteY3" fmla="*/ 4201309 h 4205294"/>
                  <a:gd name="connsiteX4" fmla="*/ 1518326 w 1720704"/>
                  <a:gd name="connsiteY4" fmla="*/ 4201309 h 4205294"/>
                  <a:gd name="connsiteX5" fmla="*/ 217694 w 1720704"/>
                  <a:gd name="connsiteY5" fmla="*/ 4205294 h 4205294"/>
                  <a:gd name="connsiteX6" fmla="*/ 0 w 1720704"/>
                  <a:gd name="connsiteY6" fmla="*/ 4200067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305768 w 1508146"/>
                  <a:gd name="connsiteY4" fmla="*/ 4201309 h 4205294"/>
                  <a:gd name="connsiteX5" fmla="*/ 5136 w 1508146"/>
                  <a:gd name="connsiteY5" fmla="*/ 4205294 h 4205294"/>
                  <a:gd name="connsiteX0" fmla="*/ 0 w 1508146"/>
                  <a:gd name="connsiteY0" fmla="*/ 0 h 4205294"/>
                  <a:gd name="connsiteX1" fmla="*/ 1033647 w 1508146"/>
                  <a:gd name="connsiteY1" fmla="*/ 636 h 4205294"/>
                  <a:gd name="connsiteX2" fmla="*/ 1487518 w 1508146"/>
                  <a:gd name="connsiteY2" fmla="*/ 434341 h 4205294"/>
                  <a:gd name="connsiteX3" fmla="*/ 1508146 w 1508146"/>
                  <a:gd name="connsiteY3" fmla="*/ 4201309 h 4205294"/>
                  <a:gd name="connsiteX4" fmla="*/ 1424134 w 1508146"/>
                  <a:gd name="connsiteY4" fmla="*/ 4202255 h 4205294"/>
                  <a:gd name="connsiteX5" fmla="*/ 1305768 w 1508146"/>
                  <a:gd name="connsiteY5" fmla="*/ 4201309 h 4205294"/>
                  <a:gd name="connsiteX6" fmla="*/ 5136 w 1508146"/>
                  <a:gd name="connsiteY6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87518 w 1509361"/>
                  <a:gd name="connsiteY2" fmla="*/ 434341 h 4205294"/>
                  <a:gd name="connsiteX3" fmla="*/ 1424134 w 1509361"/>
                  <a:gd name="connsiteY3" fmla="*/ 4202255 h 4205294"/>
                  <a:gd name="connsiteX4" fmla="*/ 1305768 w 1509361"/>
                  <a:gd name="connsiteY4" fmla="*/ 4201309 h 4205294"/>
                  <a:gd name="connsiteX5" fmla="*/ 5136 w 1509361"/>
                  <a:gd name="connsiteY5" fmla="*/ 4205294 h 4205294"/>
                  <a:gd name="connsiteX0" fmla="*/ 0 w 1509361"/>
                  <a:gd name="connsiteY0" fmla="*/ 0 h 4205294"/>
                  <a:gd name="connsiteX1" fmla="*/ 1033647 w 1509361"/>
                  <a:gd name="connsiteY1" fmla="*/ 636 h 4205294"/>
                  <a:gd name="connsiteX2" fmla="*/ 1422915 w 1509361"/>
                  <a:gd name="connsiteY2" fmla="*/ 376572 h 4205294"/>
                  <a:gd name="connsiteX3" fmla="*/ 1487518 w 1509361"/>
                  <a:gd name="connsiteY3" fmla="*/ 434341 h 4205294"/>
                  <a:gd name="connsiteX4" fmla="*/ 1424134 w 1509361"/>
                  <a:gd name="connsiteY4" fmla="*/ 4202255 h 4205294"/>
                  <a:gd name="connsiteX5" fmla="*/ 1305768 w 1509361"/>
                  <a:gd name="connsiteY5" fmla="*/ 4201309 h 4205294"/>
                  <a:gd name="connsiteX6" fmla="*/ 5136 w 1509361"/>
                  <a:gd name="connsiteY6" fmla="*/ 4205294 h 4205294"/>
                  <a:gd name="connsiteX0" fmla="*/ 0 w 1457094"/>
                  <a:gd name="connsiteY0" fmla="*/ 50479 h 4255773"/>
                  <a:gd name="connsiteX1" fmla="*/ 1033647 w 1457094"/>
                  <a:gd name="connsiteY1" fmla="*/ 51115 h 4255773"/>
                  <a:gd name="connsiteX2" fmla="*/ 1422915 w 1457094"/>
                  <a:gd name="connsiteY2" fmla="*/ 427051 h 4255773"/>
                  <a:gd name="connsiteX3" fmla="*/ 1424134 w 1457094"/>
                  <a:gd name="connsiteY3" fmla="*/ 4252734 h 4255773"/>
                  <a:gd name="connsiteX4" fmla="*/ 1305768 w 1457094"/>
                  <a:gd name="connsiteY4" fmla="*/ 4251788 h 4255773"/>
                  <a:gd name="connsiteX5" fmla="*/ 5136 w 1457094"/>
                  <a:gd name="connsiteY5" fmla="*/ 4255773 h 4255773"/>
                  <a:gd name="connsiteX0" fmla="*/ 0 w 1432100"/>
                  <a:gd name="connsiteY0" fmla="*/ 50479 h 4255773"/>
                  <a:gd name="connsiteX1" fmla="*/ 1033647 w 1432100"/>
                  <a:gd name="connsiteY1" fmla="*/ 51115 h 4255773"/>
                  <a:gd name="connsiteX2" fmla="*/ 1422915 w 1432100"/>
                  <a:gd name="connsiteY2" fmla="*/ 427051 h 4255773"/>
                  <a:gd name="connsiteX3" fmla="*/ 1424134 w 1432100"/>
                  <a:gd name="connsiteY3" fmla="*/ 4252734 h 4255773"/>
                  <a:gd name="connsiteX4" fmla="*/ 1305768 w 1432100"/>
                  <a:gd name="connsiteY4" fmla="*/ 4251788 h 4255773"/>
                  <a:gd name="connsiteX5" fmla="*/ 5136 w 1432100"/>
                  <a:gd name="connsiteY5" fmla="*/ 4255773 h 4255773"/>
                  <a:gd name="connsiteX0" fmla="*/ 0 w 1434720"/>
                  <a:gd name="connsiteY0" fmla="*/ 50479 h 4255773"/>
                  <a:gd name="connsiteX1" fmla="*/ 1033647 w 1434720"/>
                  <a:gd name="connsiteY1" fmla="*/ 51115 h 4255773"/>
                  <a:gd name="connsiteX2" fmla="*/ 1422915 w 1434720"/>
                  <a:gd name="connsiteY2" fmla="*/ 427051 h 4255773"/>
                  <a:gd name="connsiteX3" fmla="*/ 1424134 w 1434720"/>
                  <a:gd name="connsiteY3" fmla="*/ 4252734 h 4255773"/>
                  <a:gd name="connsiteX4" fmla="*/ 1305768 w 1434720"/>
                  <a:gd name="connsiteY4" fmla="*/ 4251788 h 4255773"/>
                  <a:gd name="connsiteX5" fmla="*/ 5136 w 1434720"/>
                  <a:gd name="connsiteY5" fmla="*/ 4255773 h 4255773"/>
                  <a:gd name="connsiteX0" fmla="*/ 0 w 1432860"/>
                  <a:gd name="connsiteY0" fmla="*/ 50479 h 4255773"/>
                  <a:gd name="connsiteX1" fmla="*/ 1033647 w 1432860"/>
                  <a:gd name="connsiteY1" fmla="*/ 51115 h 4255773"/>
                  <a:gd name="connsiteX2" fmla="*/ 1422915 w 1432860"/>
                  <a:gd name="connsiteY2" fmla="*/ 427051 h 4255773"/>
                  <a:gd name="connsiteX3" fmla="*/ 1424134 w 1432860"/>
                  <a:gd name="connsiteY3" fmla="*/ 4252734 h 4255773"/>
                  <a:gd name="connsiteX4" fmla="*/ 1305768 w 1432860"/>
                  <a:gd name="connsiteY4" fmla="*/ 4251788 h 4255773"/>
                  <a:gd name="connsiteX5" fmla="*/ 5136 w 1432860"/>
                  <a:gd name="connsiteY5" fmla="*/ 4255773 h 4255773"/>
                  <a:gd name="connsiteX0" fmla="*/ 0 w 1424727"/>
                  <a:gd name="connsiteY0" fmla="*/ 50479 h 4255773"/>
                  <a:gd name="connsiteX1" fmla="*/ 1033647 w 1424727"/>
                  <a:gd name="connsiteY1" fmla="*/ 51115 h 4255773"/>
                  <a:gd name="connsiteX2" fmla="*/ 1422915 w 1424727"/>
                  <a:gd name="connsiteY2" fmla="*/ 427051 h 4255773"/>
                  <a:gd name="connsiteX3" fmla="*/ 1424134 w 1424727"/>
                  <a:gd name="connsiteY3" fmla="*/ 4252734 h 4255773"/>
                  <a:gd name="connsiteX4" fmla="*/ 1305768 w 1424727"/>
                  <a:gd name="connsiteY4" fmla="*/ 4251788 h 4255773"/>
                  <a:gd name="connsiteX5" fmla="*/ 5136 w 1424727"/>
                  <a:gd name="connsiteY5" fmla="*/ 4255773 h 4255773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  <a:gd name="connsiteX0" fmla="*/ 0 w 1424727"/>
                  <a:gd name="connsiteY0" fmla="*/ 0 h 4205294"/>
                  <a:gd name="connsiteX1" fmla="*/ 1033647 w 1424727"/>
                  <a:gd name="connsiteY1" fmla="*/ 636 h 4205294"/>
                  <a:gd name="connsiteX2" fmla="*/ 1422915 w 1424727"/>
                  <a:gd name="connsiteY2" fmla="*/ 376572 h 4205294"/>
                  <a:gd name="connsiteX3" fmla="*/ 1424134 w 1424727"/>
                  <a:gd name="connsiteY3" fmla="*/ 4202255 h 4205294"/>
                  <a:gd name="connsiteX4" fmla="*/ 1305768 w 1424727"/>
                  <a:gd name="connsiteY4" fmla="*/ 4201309 h 4205294"/>
                  <a:gd name="connsiteX5" fmla="*/ 5136 w 1424727"/>
                  <a:gd name="connsiteY5" fmla="*/ 4205294 h 4205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4727" h="4205294">
                    <a:moveTo>
                      <a:pt x="0" y="0"/>
                    </a:moveTo>
                    <a:lnTo>
                      <a:pt x="1033647" y="636"/>
                    </a:lnTo>
                    <a:cubicBezTo>
                      <a:pt x="1263479" y="213500"/>
                      <a:pt x="1167521" y="115063"/>
                      <a:pt x="1422915" y="376572"/>
                    </a:cubicBezTo>
                    <a:cubicBezTo>
                      <a:pt x="1424558" y="1178834"/>
                      <a:pt x="1425359" y="3578270"/>
                      <a:pt x="1424134" y="4202255"/>
                    </a:cubicBezTo>
                    <a:lnTo>
                      <a:pt x="1305768" y="4201309"/>
                    </a:lnTo>
                    <a:lnTo>
                      <a:pt x="5136" y="4205294"/>
                    </a:lnTo>
                  </a:path>
                </a:pathLst>
              </a:custGeom>
              <a:noFill/>
              <a:ln w="9525" cap="sq">
                <a:solidFill>
                  <a:schemeClr val="bg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>
                  <a:buFontTx/>
                  <a:buNone/>
                </a:pPr>
                <a:endParaRPr lang="en-US" dirty="0"/>
              </a:p>
            </p:txBody>
          </p:sp>
        </p:grpSp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D10D6B42-A417-8FFD-63BE-102F2A786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607131" y="5585531"/>
              <a:ext cx="0" cy="181971"/>
            </a:xfrm>
            <a:prstGeom prst="line">
              <a:avLst/>
            </a:prstGeom>
            <a:ln w="9525" cap="sq">
              <a:solidFill>
                <a:schemeClr val="bg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48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icture Placeholder 108">
            <a:extLst>
              <a:ext uri="{FF2B5EF4-FFF2-40B4-BE49-F238E27FC236}">
                <a16:creationId xmlns:a16="http://schemas.microsoft.com/office/drawing/2014/main" id="{8A5C2643-7BA8-5DEF-43AB-3AEC806D621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-9525" y="111125"/>
            <a:ext cx="5797296" cy="6746875"/>
          </a:xfrm>
          <a:custGeom>
            <a:avLst/>
            <a:gdLst>
              <a:gd name="connsiteX0" fmla="*/ 0 w 5803554"/>
              <a:gd name="connsiteY0" fmla="*/ 0 h 6746875"/>
              <a:gd name="connsiteX1" fmla="*/ 5803554 w 5803554"/>
              <a:gd name="connsiteY1" fmla="*/ 0 h 6746875"/>
              <a:gd name="connsiteX2" fmla="*/ 5803554 w 5803554"/>
              <a:gd name="connsiteY2" fmla="*/ 6746875 h 6746875"/>
              <a:gd name="connsiteX3" fmla="*/ 0 w 5803554"/>
              <a:gd name="connsiteY3" fmla="*/ 6746875 h 6746875"/>
              <a:gd name="connsiteX4" fmla="*/ 0 w 5803554"/>
              <a:gd name="connsiteY4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803554 w 5803554"/>
              <a:gd name="connsiteY2" fmla="*/ 0 h 6746875"/>
              <a:gd name="connsiteX3" fmla="*/ 5803554 w 5803554"/>
              <a:gd name="connsiteY3" fmla="*/ 6746875 h 6746875"/>
              <a:gd name="connsiteX4" fmla="*/ 0 w 5803554"/>
              <a:gd name="connsiteY4" fmla="*/ 6746875 h 6746875"/>
              <a:gd name="connsiteX5" fmla="*/ 0 w 5803554"/>
              <a:gd name="connsiteY5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803554 w 5803554"/>
              <a:gd name="connsiteY2" fmla="*/ 0 h 6746875"/>
              <a:gd name="connsiteX3" fmla="*/ 5796714 w 5803554"/>
              <a:gd name="connsiteY3" fmla="*/ 334043 h 6746875"/>
              <a:gd name="connsiteX4" fmla="*/ 5803554 w 5803554"/>
              <a:gd name="connsiteY4" fmla="*/ 6746875 h 6746875"/>
              <a:gd name="connsiteX5" fmla="*/ 0 w 5803554"/>
              <a:gd name="connsiteY5" fmla="*/ 6746875 h 6746875"/>
              <a:gd name="connsiteX6" fmla="*/ 0 w 5803554"/>
              <a:gd name="connsiteY6" fmla="*/ 0 h 6746875"/>
              <a:gd name="connsiteX0" fmla="*/ 0 w 5803554"/>
              <a:gd name="connsiteY0" fmla="*/ 0 h 6746875"/>
              <a:gd name="connsiteX1" fmla="*/ 5227220 w 5803554"/>
              <a:gd name="connsiteY1" fmla="*/ 1170 h 6746875"/>
              <a:gd name="connsiteX2" fmla="*/ 5796714 w 5803554"/>
              <a:gd name="connsiteY2" fmla="*/ 334043 h 6746875"/>
              <a:gd name="connsiteX3" fmla="*/ 5803554 w 5803554"/>
              <a:gd name="connsiteY3" fmla="*/ 6746875 h 6746875"/>
              <a:gd name="connsiteX4" fmla="*/ 0 w 5803554"/>
              <a:gd name="connsiteY4" fmla="*/ 6746875 h 6746875"/>
              <a:gd name="connsiteX5" fmla="*/ 0 w 5803554"/>
              <a:gd name="connsiteY5" fmla="*/ 0 h 6746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03554" h="6746875">
                <a:moveTo>
                  <a:pt x="0" y="0"/>
                </a:moveTo>
                <a:lnTo>
                  <a:pt x="5227220" y="1170"/>
                </a:lnTo>
                <a:lnTo>
                  <a:pt x="5796714" y="334043"/>
                </a:lnTo>
                <a:lnTo>
                  <a:pt x="5803554" y="6746875"/>
                </a:lnTo>
                <a:lnTo>
                  <a:pt x="0" y="6746875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9345" y="4773308"/>
            <a:ext cx="3560922" cy="1107295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  <a:gd name="connsiteX0" fmla="*/ 0 w 3653537"/>
              <a:gd name="connsiteY0" fmla="*/ 1249154 h 1249946"/>
              <a:gd name="connsiteX1" fmla="*/ 3934 w 3653537"/>
              <a:gd name="connsiteY1" fmla="*/ 1677 h 1249946"/>
              <a:gd name="connsiteX2" fmla="*/ 2601911 w 3653537"/>
              <a:gd name="connsiteY2" fmla="*/ 0 h 1249946"/>
              <a:gd name="connsiteX3" fmla="*/ 3150718 w 3653537"/>
              <a:gd name="connsiteY3" fmla="*/ 266682 h 1249946"/>
              <a:gd name="connsiteX4" fmla="*/ 3653537 w 3653537"/>
              <a:gd name="connsiteY4" fmla="*/ 269460 h 1249946"/>
              <a:gd name="connsiteX5" fmla="*/ 3066332 w 3653537"/>
              <a:gd name="connsiteY5" fmla="*/ 1249946 h 1249946"/>
              <a:gd name="connsiteX6" fmla="*/ 0 w 3653537"/>
              <a:gd name="connsiteY6" fmla="*/ 1249154 h 1249946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178092 w 3653537"/>
              <a:gd name="connsiteY5" fmla="*/ 1244866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259372 w 3653537"/>
              <a:gd name="connsiteY5" fmla="*/ 1239786 h 1249154"/>
              <a:gd name="connsiteX6" fmla="*/ 0 w 3653537"/>
              <a:gd name="connsiteY6" fmla="*/ 1249154 h 1249154"/>
              <a:gd name="connsiteX0" fmla="*/ 0 w 3653537"/>
              <a:gd name="connsiteY0" fmla="*/ 1249154 h 1249311"/>
              <a:gd name="connsiteX1" fmla="*/ 3934 w 3653537"/>
              <a:gd name="connsiteY1" fmla="*/ 1677 h 1249311"/>
              <a:gd name="connsiteX2" fmla="*/ 2601911 w 3653537"/>
              <a:gd name="connsiteY2" fmla="*/ 0 h 1249311"/>
              <a:gd name="connsiteX3" fmla="*/ 3150718 w 3653537"/>
              <a:gd name="connsiteY3" fmla="*/ 266682 h 1249311"/>
              <a:gd name="connsiteX4" fmla="*/ 3653537 w 3653537"/>
              <a:gd name="connsiteY4" fmla="*/ 269460 h 1249311"/>
              <a:gd name="connsiteX5" fmla="*/ 3549884 w 3653537"/>
              <a:gd name="connsiteY5" fmla="*/ 1249311 h 1249311"/>
              <a:gd name="connsiteX6" fmla="*/ 0 w 3653537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64698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8985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601911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854323 w 3553525"/>
              <a:gd name="connsiteY2" fmla="*/ 0 h 1249311"/>
              <a:gd name="connsiteX3" fmla="*/ 3150718 w 3553525"/>
              <a:gd name="connsiteY3" fmla="*/ 266682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0 w 3553525"/>
              <a:gd name="connsiteY0" fmla="*/ 1249154 h 1249311"/>
              <a:gd name="connsiteX1" fmla="*/ 3934 w 3553525"/>
              <a:gd name="connsiteY1" fmla="*/ 1677 h 1249311"/>
              <a:gd name="connsiteX2" fmla="*/ 2854323 w 3553525"/>
              <a:gd name="connsiteY2" fmla="*/ 0 h 1249311"/>
              <a:gd name="connsiteX3" fmla="*/ 3188818 w 3553525"/>
              <a:gd name="connsiteY3" fmla="*/ 271444 h 1249311"/>
              <a:gd name="connsiteX4" fmla="*/ 3553525 w 3553525"/>
              <a:gd name="connsiteY4" fmla="*/ 274223 h 1249311"/>
              <a:gd name="connsiteX5" fmla="*/ 3549884 w 3553525"/>
              <a:gd name="connsiteY5" fmla="*/ 1249311 h 1249311"/>
              <a:gd name="connsiteX6" fmla="*/ 0 w 3553525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194551 w 3559258"/>
              <a:gd name="connsiteY3" fmla="*/ 271444 h 1249311"/>
              <a:gd name="connsiteX4" fmla="*/ 3559258 w 3559258"/>
              <a:gd name="connsiteY4" fmla="*/ 274223 h 1249311"/>
              <a:gd name="connsiteX5" fmla="*/ 3555617 w 3559258"/>
              <a:gd name="connsiteY5" fmla="*/ 1249311 h 1249311"/>
              <a:gd name="connsiteX6" fmla="*/ 5733 w 3559258"/>
              <a:gd name="connsiteY6" fmla="*/ 1249154 h 1249311"/>
              <a:gd name="connsiteX0" fmla="*/ 5733 w 3559258"/>
              <a:gd name="connsiteY0" fmla="*/ 1249154 h 1249311"/>
              <a:gd name="connsiteX1" fmla="*/ 142 w 3559258"/>
              <a:gd name="connsiteY1" fmla="*/ 1677 h 1249311"/>
              <a:gd name="connsiteX2" fmla="*/ 2860056 w 3559258"/>
              <a:gd name="connsiteY2" fmla="*/ 0 h 1249311"/>
              <a:gd name="connsiteX3" fmla="*/ 3009594 w 3559258"/>
              <a:gd name="connsiteY3" fmla="*/ 123057 h 1249311"/>
              <a:gd name="connsiteX4" fmla="*/ 3194551 w 3559258"/>
              <a:gd name="connsiteY4" fmla="*/ 271444 h 1249311"/>
              <a:gd name="connsiteX5" fmla="*/ 3559258 w 3559258"/>
              <a:gd name="connsiteY5" fmla="*/ 274223 h 1249311"/>
              <a:gd name="connsiteX6" fmla="*/ 3555617 w 3559258"/>
              <a:gd name="connsiteY6" fmla="*/ 1249311 h 1249311"/>
              <a:gd name="connsiteX7" fmla="*/ 5733 w 3559258"/>
              <a:gd name="connsiteY7" fmla="*/ 1249154 h 1249311"/>
              <a:gd name="connsiteX0" fmla="*/ 5733 w 3559258"/>
              <a:gd name="connsiteY0" fmla="*/ 1247477 h 1247634"/>
              <a:gd name="connsiteX1" fmla="*/ 142 w 3559258"/>
              <a:gd name="connsiteY1" fmla="*/ 0 h 1247634"/>
              <a:gd name="connsiteX2" fmla="*/ 3009594 w 3559258"/>
              <a:gd name="connsiteY2" fmla="*/ 121380 h 1247634"/>
              <a:gd name="connsiteX3" fmla="*/ 3194551 w 3559258"/>
              <a:gd name="connsiteY3" fmla="*/ 269767 h 1247634"/>
              <a:gd name="connsiteX4" fmla="*/ 3559258 w 3559258"/>
              <a:gd name="connsiteY4" fmla="*/ 272546 h 1247634"/>
              <a:gd name="connsiteX5" fmla="*/ 3555617 w 3559258"/>
              <a:gd name="connsiteY5" fmla="*/ 1247634 h 1247634"/>
              <a:gd name="connsiteX6" fmla="*/ 5733 w 3559258"/>
              <a:gd name="connsiteY6" fmla="*/ 1247477 h 1247634"/>
              <a:gd name="connsiteX0" fmla="*/ 265934 w 3819459"/>
              <a:gd name="connsiteY0" fmla="*/ 1255838 h 1255995"/>
              <a:gd name="connsiteX1" fmla="*/ 256431 w 3819459"/>
              <a:gd name="connsiteY1" fmla="*/ 150521 h 1255995"/>
              <a:gd name="connsiteX2" fmla="*/ 260343 w 3819459"/>
              <a:gd name="connsiteY2" fmla="*/ 8361 h 1255995"/>
              <a:gd name="connsiteX3" fmla="*/ 3269795 w 3819459"/>
              <a:gd name="connsiteY3" fmla="*/ 129741 h 1255995"/>
              <a:gd name="connsiteX4" fmla="*/ 3454752 w 3819459"/>
              <a:gd name="connsiteY4" fmla="*/ 278128 h 1255995"/>
              <a:gd name="connsiteX5" fmla="*/ 3819459 w 3819459"/>
              <a:gd name="connsiteY5" fmla="*/ 280907 h 1255995"/>
              <a:gd name="connsiteX6" fmla="*/ 3815818 w 3819459"/>
              <a:gd name="connsiteY6" fmla="*/ 1255995 h 1255995"/>
              <a:gd name="connsiteX7" fmla="*/ 265934 w 3819459"/>
              <a:gd name="connsiteY7" fmla="*/ 1255838 h 1255995"/>
              <a:gd name="connsiteX0" fmla="*/ 415417 w 3968942"/>
              <a:gd name="connsiteY0" fmla="*/ 1199998 h 1200155"/>
              <a:gd name="connsiteX1" fmla="*/ 405914 w 3968942"/>
              <a:gd name="connsiteY1" fmla="*/ 94681 h 1200155"/>
              <a:gd name="connsiteX2" fmla="*/ 3419278 w 3968942"/>
              <a:gd name="connsiteY2" fmla="*/ 73901 h 1200155"/>
              <a:gd name="connsiteX3" fmla="*/ 3604235 w 3968942"/>
              <a:gd name="connsiteY3" fmla="*/ 222288 h 1200155"/>
              <a:gd name="connsiteX4" fmla="*/ 3968942 w 3968942"/>
              <a:gd name="connsiteY4" fmla="*/ 225067 h 1200155"/>
              <a:gd name="connsiteX5" fmla="*/ 3965301 w 3968942"/>
              <a:gd name="connsiteY5" fmla="*/ 1200155 h 1200155"/>
              <a:gd name="connsiteX6" fmla="*/ 415417 w 3968942"/>
              <a:gd name="connsiteY6" fmla="*/ 1199998 h 1200155"/>
              <a:gd name="connsiteX0" fmla="*/ 232068 w 3785593"/>
              <a:gd name="connsiteY0" fmla="*/ 1199998 h 1200155"/>
              <a:gd name="connsiteX1" fmla="*/ 222565 w 3785593"/>
              <a:gd name="connsiteY1" fmla="*/ 94681 h 1200155"/>
              <a:gd name="connsiteX2" fmla="*/ 3235929 w 3785593"/>
              <a:gd name="connsiteY2" fmla="*/ 73901 h 1200155"/>
              <a:gd name="connsiteX3" fmla="*/ 3420886 w 3785593"/>
              <a:gd name="connsiteY3" fmla="*/ 222288 h 1200155"/>
              <a:gd name="connsiteX4" fmla="*/ 3785593 w 3785593"/>
              <a:gd name="connsiteY4" fmla="*/ 225067 h 1200155"/>
              <a:gd name="connsiteX5" fmla="*/ 3781952 w 3785593"/>
              <a:gd name="connsiteY5" fmla="*/ 1200155 h 1200155"/>
              <a:gd name="connsiteX6" fmla="*/ 232068 w 3785593"/>
              <a:gd name="connsiteY6" fmla="*/ 1199998 h 1200155"/>
              <a:gd name="connsiteX0" fmla="*/ 16560 w 3570085"/>
              <a:gd name="connsiteY0" fmla="*/ 1199998 h 1200155"/>
              <a:gd name="connsiteX1" fmla="*/ 7057 w 3570085"/>
              <a:gd name="connsiteY1" fmla="*/ 94681 h 1200155"/>
              <a:gd name="connsiteX2" fmla="*/ 3020421 w 3570085"/>
              <a:gd name="connsiteY2" fmla="*/ 73901 h 1200155"/>
              <a:gd name="connsiteX3" fmla="*/ 3205378 w 3570085"/>
              <a:gd name="connsiteY3" fmla="*/ 222288 h 1200155"/>
              <a:gd name="connsiteX4" fmla="*/ 3570085 w 3570085"/>
              <a:gd name="connsiteY4" fmla="*/ 225067 h 1200155"/>
              <a:gd name="connsiteX5" fmla="*/ 3566444 w 3570085"/>
              <a:gd name="connsiteY5" fmla="*/ 1200155 h 1200155"/>
              <a:gd name="connsiteX6" fmla="*/ 16560 w 3570085"/>
              <a:gd name="connsiteY6" fmla="*/ 1199998 h 1200155"/>
              <a:gd name="connsiteX0" fmla="*/ 16560 w 3570085"/>
              <a:gd name="connsiteY0" fmla="*/ 1133874 h 1134031"/>
              <a:gd name="connsiteX1" fmla="*/ 7057 w 3570085"/>
              <a:gd name="connsiteY1" fmla="*/ 28557 h 1134031"/>
              <a:gd name="connsiteX2" fmla="*/ 3020421 w 3570085"/>
              <a:gd name="connsiteY2" fmla="*/ 7777 h 1134031"/>
              <a:gd name="connsiteX3" fmla="*/ 3205378 w 3570085"/>
              <a:gd name="connsiteY3" fmla="*/ 156164 h 1134031"/>
              <a:gd name="connsiteX4" fmla="*/ 3570085 w 3570085"/>
              <a:gd name="connsiteY4" fmla="*/ 158943 h 1134031"/>
              <a:gd name="connsiteX5" fmla="*/ 3566444 w 3570085"/>
              <a:gd name="connsiteY5" fmla="*/ 1134031 h 1134031"/>
              <a:gd name="connsiteX6" fmla="*/ 16560 w 3570085"/>
              <a:gd name="connsiteY6" fmla="*/ 1133874 h 1134031"/>
              <a:gd name="connsiteX0" fmla="*/ 16560 w 3570085"/>
              <a:gd name="connsiteY0" fmla="*/ 1109331 h 1109488"/>
              <a:gd name="connsiteX1" fmla="*/ 7057 w 3570085"/>
              <a:gd name="connsiteY1" fmla="*/ 4014 h 1109488"/>
              <a:gd name="connsiteX2" fmla="*/ 3048130 w 3570085"/>
              <a:gd name="connsiteY2" fmla="*/ 38652 h 1109488"/>
              <a:gd name="connsiteX3" fmla="*/ 3205378 w 3570085"/>
              <a:gd name="connsiteY3" fmla="*/ 131621 h 1109488"/>
              <a:gd name="connsiteX4" fmla="*/ 3570085 w 3570085"/>
              <a:gd name="connsiteY4" fmla="*/ 134400 h 1109488"/>
              <a:gd name="connsiteX5" fmla="*/ 3566444 w 3570085"/>
              <a:gd name="connsiteY5" fmla="*/ 1109488 h 1109488"/>
              <a:gd name="connsiteX6" fmla="*/ 16560 w 3570085"/>
              <a:gd name="connsiteY6" fmla="*/ 1109331 h 1109488"/>
              <a:gd name="connsiteX0" fmla="*/ 16560 w 3570085"/>
              <a:gd name="connsiteY0" fmla="*/ 1107515 h 1107672"/>
              <a:gd name="connsiteX1" fmla="*/ 7057 w 3570085"/>
              <a:gd name="connsiteY1" fmla="*/ 2198 h 1107672"/>
              <a:gd name="connsiteX2" fmla="*/ 3048130 w 3570085"/>
              <a:gd name="connsiteY2" fmla="*/ 36836 h 1107672"/>
              <a:gd name="connsiteX3" fmla="*/ 3205378 w 3570085"/>
              <a:gd name="connsiteY3" fmla="*/ 129805 h 1107672"/>
              <a:gd name="connsiteX4" fmla="*/ 3570085 w 3570085"/>
              <a:gd name="connsiteY4" fmla="*/ 132584 h 1107672"/>
              <a:gd name="connsiteX5" fmla="*/ 3566444 w 3570085"/>
              <a:gd name="connsiteY5" fmla="*/ 1107672 h 1107672"/>
              <a:gd name="connsiteX6" fmla="*/ 16560 w 3570085"/>
              <a:gd name="connsiteY6" fmla="*/ 1107515 h 1107672"/>
              <a:gd name="connsiteX0" fmla="*/ 16560 w 3570085"/>
              <a:gd name="connsiteY0" fmla="*/ 1112243 h 1112400"/>
              <a:gd name="connsiteX1" fmla="*/ 7057 w 3570085"/>
              <a:gd name="connsiteY1" fmla="*/ 6926 h 1112400"/>
              <a:gd name="connsiteX2" fmla="*/ 2992712 w 3570085"/>
              <a:gd name="connsiteY2" fmla="*/ 0 h 1112400"/>
              <a:gd name="connsiteX3" fmla="*/ 3205378 w 3570085"/>
              <a:gd name="connsiteY3" fmla="*/ 134533 h 1112400"/>
              <a:gd name="connsiteX4" fmla="*/ 3570085 w 3570085"/>
              <a:gd name="connsiteY4" fmla="*/ 137312 h 1112400"/>
              <a:gd name="connsiteX5" fmla="*/ 3566444 w 3570085"/>
              <a:gd name="connsiteY5" fmla="*/ 1112400 h 1112400"/>
              <a:gd name="connsiteX6" fmla="*/ 16560 w 3570085"/>
              <a:gd name="connsiteY6" fmla="*/ 1112243 h 1112400"/>
              <a:gd name="connsiteX0" fmla="*/ 22098 w 3575623"/>
              <a:gd name="connsiteY0" fmla="*/ 1112243 h 1112400"/>
              <a:gd name="connsiteX1" fmla="*/ 5668 w 3575623"/>
              <a:gd name="connsiteY1" fmla="*/ 34635 h 1112400"/>
              <a:gd name="connsiteX2" fmla="*/ 2998250 w 3575623"/>
              <a:gd name="connsiteY2" fmla="*/ 0 h 1112400"/>
              <a:gd name="connsiteX3" fmla="*/ 3210916 w 3575623"/>
              <a:gd name="connsiteY3" fmla="*/ 134533 h 1112400"/>
              <a:gd name="connsiteX4" fmla="*/ 3575623 w 3575623"/>
              <a:gd name="connsiteY4" fmla="*/ 137312 h 1112400"/>
              <a:gd name="connsiteX5" fmla="*/ 3571982 w 3575623"/>
              <a:gd name="connsiteY5" fmla="*/ 1112400 h 1112400"/>
              <a:gd name="connsiteX6" fmla="*/ 22098 w 3575623"/>
              <a:gd name="connsiteY6" fmla="*/ 1112243 h 1112400"/>
              <a:gd name="connsiteX0" fmla="*/ 22098 w 3575623"/>
              <a:gd name="connsiteY0" fmla="*/ 1112243 h 1112400"/>
              <a:gd name="connsiteX1" fmla="*/ 5668 w 3575623"/>
              <a:gd name="connsiteY1" fmla="*/ 13854 h 1112400"/>
              <a:gd name="connsiteX2" fmla="*/ 2998250 w 3575623"/>
              <a:gd name="connsiteY2" fmla="*/ 0 h 1112400"/>
              <a:gd name="connsiteX3" fmla="*/ 3210916 w 3575623"/>
              <a:gd name="connsiteY3" fmla="*/ 134533 h 1112400"/>
              <a:gd name="connsiteX4" fmla="*/ 3575623 w 3575623"/>
              <a:gd name="connsiteY4" fmla="*/ 137312 h 1112400"/>
              <a:gd name="connsiteX5" fmla="*/ 3571982 w 3575623"/>
              <a:gd name="connsiteY5" fmla="*/ 1112400 h 1112400"/>
              <a:gd name="connsiteX6" fmla="*/ 22098 w 3575623"/>
              <a:gd name="connsiteY6" fmla="*/ 1112243 h 1112400"/>
              <a:gd name="connsiteX0" fmla="*/ 20024 w 3573549"/>
              <a:gd name="connsiteY0" fmla="*/ 1112243 h 1112400"/>
              <a:gd name="connsiteX1" fmla="*/ 3594 w 3573549"/>
              <a:gd name="connsiteY1" fmla="*/ 13854 h 1112400"/>
              <a:gd name="connsiteX2" fmla="*/ 2996176 w 3573549"/>
              <a:gd name="connsiteY2" fmla="*/ 0 h 1112400"/>
              <a:gd name="connsiteX3" fmla="*/ 3208842 w 3573549"/>
              <a:gd name="connsiteY3" fmla="*/ 134533 h 1112400"/>
              <a:gd name="connsiteX4" fmla="*/ 3573549 w 3573549"/>
              <a:gd name="connsiteY4" fmla="*/ 137312 h 1112400"/>
              <a:gd name="connsiteX5" fmla="*/ 3569908 w 3573549"/>
              <a:gd name="connsiteY5" fmla="*/ 1112400 h 1112400"/>
              <a:gd name="connsiteX6" fmla="*/ 20024 w 3573549"/>
              <a:gd name="connsiteY6" fmla="*/ 1112243 h 1112400"/>
              <a:gd name="connsiteX0" fmla="*/ 16430 w 3569955"/>
              <a:gd name="connsiteY0" fmla="*/ 1112243 h 1112400"/>
              <a:gd name="connsiteX1" fmla="*/ 0 w 3569955"/>
              <a:gd name="connsiteY1" fmla="*/ 13854 h 1112400"/>
              <a:gd name="connsiteX2" fmla="*/ 2992582 w 3569955"/>
              <a:gd name="connsiteY2" fmla="*/ 0 h 1112400"/>
              <a:gd name="connsiteX3" fmla="*/ 3205248 w 3569955"/>
              <a:gd name="connsiteY3" fmla="*/ 134533 h 1112400"/>
              <a:gd name="connsiteX4" fmla="*/ 3569955 w 3569955"/>
              <a:gd name="connsiteY4" fmla="*/ 137312 h 1112400"/>
              <a:gd name="connsiteX5" fmla="*/ 3566314 w 3569955"/>
              <a:gd name="connsiteY5" fmla="*/ 1112400 h 1112400"/>
              <a:gd name="connsiteX6" fmla="*/ 16430 w 3569955"/>
              <a:gd name="connsiteY6" fmla="*/ 1112243 h 1112400"/>
              <a:gd name="connsiteX0" fmla="*/ 2575 w 3556100"/>
              <a:gd name="connsiteY0" fmla="*/ 1116552 h 1116709"/>
              <a:gd name="connsiteX1" fmla="*/ 0 w 3556100"/>
              <a:gd name="connsiteY1" fmla="*/ 4308 h 1116709"/>
              <a:gd name="connsiteX2" fmla="*/ 2978727 w 3556100"/>
              <a:gd name="connsiteY2" fmla="*/ 4309 h 1116709"/>
              <a:gd name="connsiteX3" fmla="*/ 3191393 w 3556100"/>
              <a:gd name="connsiteY3" fmla="*/ 138842 h 1116709"/>
              <a:gd name="connsiteX4" fmla="*/ 3556100 w 3556100"/>
              <a:gd name="connsiteY4" fmla="*/ 141621 h 1116709"/>
              <a:gd name="connsiteX5" fmla="*/ 3552459 w 3556100"/>
              <a:gd name="connsiteY5" fmla="*/ 1116709 h 1116709"/>
              <a:gd name="connsiteX6" fmla="*/ 2575 w 3556100"/>
              <a:gd name="connsiteY6" fmla="*/ 1116552 h 1116709"/>
              <a:gd name="connsiteX0" fmla="*/ 2575 w 3556100"/>
              <a:gd name="connsiteY0" fmla="*/ 1116552 h 1116709"/>
              <a:gd name="connsiteX1" fmla="*/ 0 w 3556100"/>
              <a:gd name="connsiteY1" fmla="*/ 4308 h 1116709"/>
              <a:gd name="connsiteX2" fmla="*/ 2971799 w 3556100"/>
              <a:gd name="connsiteY2" fmla="*/ 4309 h 1116709"/>
              <a:gd name="connsiteX3" fmla="*/ 3191393 w 3556100"/>
              <a:gd name="connsiteY3" fmla="*/ 138842 h 1116709"/>
              <a:gd name="connsiteX4" fmla="*/ 3556100 w 3556100"/>
              <a:gd name="connsiteY4" fmla="*/ 141621 h 1116709"/>
              <a:gd name="connsiteX5" fmla="*/ 3552459 w 3556100"/>
              <a:gd name="connsiteY5" fmla="*/ 1116709 h 1116709"/>
              <a:gd name="connsiteX6" fmla="*/ 2575 w 3556100"/>
              <a:gd name="connsiteY6" fmla="*/ 1116552 h 1116709"/>
              <a:gd name="connsiteX0" fmla="*/ 2575 w 3556100"/>
              <a:gd name="connsiteY0" fmla="*/ 1115351 h 1115508"/>
              <a:gd name="connsiteX1" fmla="*/ 0 w 3556100"/>
              <a:gd name="connsiteY1" fmla="*/ 3107 h 1115508"/>
              <a:gd name="connsiteX2" fmla="*/ 2964872 w 3556100"/>
              <a:gd name="connsiteY2" fmla="*/ 16963 h 1115508"/>
              <a:gd name="connsiteX3" fmla="*/ 3191393 w 3556100"/>
              <a:gd name="connsiteY3" fmla="*/ 137641 h 1115508"/>
              <a:gd name="connsiteX4" fmla="*/ 3556100 w 3556100"/>
              <a:gd name="connsiteY4" fmla="*/ 140420 h 1115508"/>
              <a:gd name="connsiteX5" fmla="*/ 3552459 w 3556100"/>
              <a:gd name="connsiteY5" fmla="*/ 1115508 h 1115508"/>
              <a:gd name="connsiteX6" fmla="*/ 2575 w 3556100"/>
              <a:gd name="connsiteY6" fmla="*/ 1115351 h 1115508"/>
              <a:gd name="connsiteX0" fmla="*/ 2575 w 3556100"/>
              <a:gd name="connsiteY0" fmla="*/ 1119170 h 1119327"/>
              <a:gd name="connsiteX1" fmla="*/ 0 w 3556100"/>
              <a:gd name="connsiteY1" fmla="*/ 6926 h 1119327"/>
              <a:gd name="connsiteX2" fmla="*/ 2971800 w 3556100"/>
              <a:gd name="connsiteY2" fmla="*/ 0 h 1119327"/>
              <a:gd name="connsiteX3" fmla="*/ 3191393 w 3556100"/>
              <a:gd name="connsiteY3" fmla="*/ 141460 h 1119327"/>
              <a:gd name="connsiteX4" fmla="*/ 3556100 w 3556100"/>
              <a:gd name="connsiteY4" fmla="*/ 144239 h 1119327"/>
              <a:gd name="connsiteX5" fmla="*/ 3552459 w 3556100"/>
              <a:gd name="connsiteY5" fmla="*/ 1119327 h 1119327"/>
              <a:gd name="connsiteX6" fmla="*/ 2575 w 3556100"/>
              <a:gd name="connsiteY6" fmla="*/ 1119170 h 1119327"/>
              <a:gd name="connsiteX0" fmla="*/ 5397 w 3558922"/>
              <a:gd name="connsiteY0" fmla="*/ 1127370 h 1127527"/>
              <a:gd name="connsiteX1" fmla="*/ 0 w 3558922"/>
              <a:gd name="connsiteY1" fmla="*/ 3837 h 1127527"/>
              <a:gd name="connsiteX2" fmla="*/ 2974622 w 3558922"/>
              <a:gd name="connsiteY2" fmla="*/ 8200 h 1127527"/>
              <a:gd name="connsiteX3" fmla="*/ 3194215 w 3558922"/>
              <a:gd name="connsiteY3" fmla="*/ 149660 h 1127527"/>
              <a:gd name="connsiteX4" fmla="*/ 3558922 w 3558922"/>
              <a:gd name="connsiteY4" fmla="*/ 152439 h 1127527"/>
              <a:gd name="connsiteX5" fmla="*/ 3555281 w 3558922"/>
              <a:gd name="connsiteY5" fmla="*/ 1127527 h 1127527"/>
              <a:gd name="connsiteX6" fmla="*/ 5397 w 3558922"/>
              <a:gd name="connsiteY6" fmla="*/ 1127370 h 1127527"/>
              <a:gd name="connsiteX0" fmla="*/ 5397 w 3558922"/>
              <a:gd name="connsiteY0" fmla="*/ 1123533 h 1123690"/>
              <a:gd name="connsiteX1" fmla="*/ 0 w 3558922"/>
              <a:gd name="connsiteY1" fmla="*/ 0 h 1123690"/>
              <a:gd name="connsiteX2" fmla="*/ 2974622 w 3558922"/>
              <a:gd name="connsiteY2" fmla="*/ 4363 h 1123690"/>
              <a:gd name="connsiteX3" fmla="*/ 3194215 w 3558922"/>
              <a:gd name="connsiteY3" fmla="*/ 145823 h 1123690"/>
              <a:gd name="connsiteX4" fmla="*/ 3558922 w 3558922"/>
              <a:gd name="connsiteY4" fmla="*/ 148602 h 1123690"/>
              <a:gd name="connsiteX5" fmla="*/ 3555281 w 3558922"/>
              <a:gd name="connsiteY5" fmla="*/ 1123690 h 1123690"/>
              <a:gd name="connsiteX6" fmla="*/ 5397 w 3558922"/>
              <a:gd name="connsiteY6" fmla="*/ 1123533 h 1123690"/>
              <a:gd name="connsiteX0" fmla="*/ 5397 w 3558922"/>
              <a:gd name="connsiteY0" fmla="*/ 1123533 h 1123690"/>
              <a:gd name="connsiteX1" fmla="*/ 0 w 3558922"/>
              <a:gd name="connsiteY1" fmla="*/ 0 h 1123690"/>
              <a:gd name="connsiteX2" fmla="*/ 2962591 w 3558922"/>
              <a:gd name="connsiteY2" fmla="*/ 16395 h 1123690"/>
              <a:gd name="connsiteX3" fmla="*/ 3194215 w 3558922"/>
              <a:gd name="connsiteY3" fmla="*/ 145823 h 1123690"/>
              <a:gd name="connsiteX4" fmla="*/ 3558922 w 3558922"/>
              <a:gd name="connsiteY4" fmla="*/ 148602 h 1123690"/>
              <a:gd name="connsiteX5" fmla="*/ 3555281 w 3558922"/>
              <a:gd name="connsiteY5" fmla="*/ 1123690 h 1123690"/>
              <a:gd name="connsiteX6" fmla="*/ 5397 w 3558922"/>
              <a:gd name="connsiteY6" fmla="*/ 1123533 h 1123690"/>
              <a:gd name="connsiteX0" fmla="*/ 10477 w 3564002"/>
              <a:gd name="connsiteY0" fmla="*/ 1108293 h 1108450"/>
              <a:gd name="connsiteX1" fmla="*/ 0 w 3564002"/>
              <a:gd name="connsiteY1" fmla="*/ 0 h 1108450"/>
              <a:gd name="connsiteX2" fmla="*/ 2967671 w 3564002"/>
              <a:gd name="connsiteY2" fmla="*/ 1155 h 1108450"/>
              <a:gd name="connsiteX3" fmla="*/ 3199295 w 3564002"/>
              <a:gd name="connsiteY3" fmla="*/ 130583 h 1108450"/>
              <a:gd name="connsiteX4" fmla="*/ 3564002 w 3564002"/>
              <a:gd name="connsiteY4" fmla="*/ 133362 h 1108450"/>
              <a:gd name="connsiteX5" fmla="*/ 3560361 w 3564002"/>
              <a:gd name="connsiteY5" fmla="*/ 1108450 h 1108450"/>
              <a:gd name="connsiteX6" fmla="*/ 10477 w 3564002"/>
              <a:gd name="connsiteY6" fmla="*/ 1108293 h 1108450"/>
              <a:gd name="connsiteX0" fmla="*/ 5397 w 3558922"/>
              <a:gd name="connsiteY0" fmla="*/ 1107138 h 1107295"/>
              <a:gd name="connsiteX1" fmla="*/ 0 w 3558922"/>
              <a:gd name="connsiteY1" fmla="*/ 3925 h 1107295"/>
              <a:gd name="connsiteX2" fmla="*/ 2962591 w 3558922"/>
              <a:gd name="connsiteY2" fmla="*/ 0 h 1107295"/>
              <a:gd name="connsiteX3" fmla="*/ 3194215 w 3558922"/>
              <a:gd name="connsiteY3" fmla="*/ 129428 h 1107295"/>
              <a:gd name="connsiteX4" fmla="*/ 3558922 w 3558922"/>
              <a:gd name="connsiteY4" fmla="*/ 132207 h 1107295"/>
              <a:gd name="connsiteX5" fmla="*/ 3555281 w 3558922"/>
              <a:gd name="connsiteY5" fmla="*/ 1107295 h 1107295"/>
              <a:gd name="connsiteX6" fmla="*/ 5397 w 3558922"/>
              <a:gd name="connsiteY6" fmla="*/ 1107138 h 1107295"/>
              <a:gd name="connsiteX0" fmla="*/ 7397 w 3560922"/>
              <a:gd name="connsiteY0" fmla="*/ 1107138 h 1107295"/>
              <a:gd name="connsiteX1" fmla="*/ 2000 w 3560922"/>
              <a:gd name="connsiteY1" fmla="*/ 3925 h 1107295"/>
              <a:gd name="connsiteX2" fmla="*/ 2964591 w 3560922"/>
              <a:gd name="connsiteY2" fmla="*/ 0 h 1107295"/>
              <a:gd name="connsiteX3" fmla="*/ 3196215 w 3560922"/>
              <a:gd name="connsiteY3" fmla="*/ 129428 h 1107295"/>
              <a:gd name="connsiteX4" fmla="*/ 3560922 w 3560922"/>
              <a:gd name="connsiteY4" fmla="*/ 132207 h 1107295"/>
              <a:gd name="connsiteX5" fmla="*/ 3557281 w 3560922"/>
              <a:gd name="connsiteY5" fmla="*/ 1107295 h 1107295"/>
              <a:gd name="connsiteX6" fmla="*/ 7397 w 3560922"/>
              <a:gd name="connsiteY6" fmla="*/ 1107138 h 11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60922" h="1107295">
                <a:moveTo>
                  <a:pt x="7397" y="1107138"/>
                </a:moveTo>
                <a:cubicBezTo>
                  <a:pt x="-8561" y="635179"/>
                  <a:pt x="7048" y="669590"/>
                  <a:pt x="2000" y="3925"/>
                </a:cubicBezTo>
                <a:lnTo>
                  <a:pt x="2964591" y="0"/>
                </a:lnTo>
                <a:lnTo>
                  <a:pt x="3196215" y="129428"/>
                </a:lnTo>
                <a:lnTo>
                  <a:pt x="3560922" y="132207"/>
                </a:lnTo>
                <a:cubicBezTo>
                  <a:pt x="3559708" y="460411"/>
                  <a:pt x="3561670" y="779091"/>
                  <a:pt x="3557281" y="1107295"/>
                </a:cubicBezTo>
                <a:lnTo>
                  <a:pt x="7397" y="1107138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3135" y="4898962"/>
            <a:ext cx="5344068" cy="1051560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183655 w 5344068"/>
              <a:gd name="connsiteY2" fmla="*/ 96335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259855 w 5344068"/>
              <a:gd name="connsiteY2" fmla="*/ 95827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45605 w 5344068"/>
              <a:gd name="connsiteY2" fmla="*/ 95827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45605 w 5344068"/>
              <a:gd name="connsiteY2" fmla="*/ 958278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63040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9893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552965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8067 h 1070462"/>
              <a:gd name="connsiteX2" fmla="*/ 3552965 w 5344068"/>
              <a:gd name="connsiteY2" fmla="*/ 977327 h 1070462"/>
              <a:gd name="connsiteX3" fmla="*/ 3552652 w 5344068"/>
              <a:gd name="connsiteY3" fmla="*/ 4763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20056"/>
                  <a:pt x="1336" y="988067"/>
                </a:cubicBezTo>
                <a:lnTo>
                  <a:pt x="3552965" y="977327"/>
                </a:lnTo>
                <a:cubicBezTo>
                  <a:pt x="3550551" y="657901"/>
                  <a:pt x="3555066" y="324189"/>
                  <a:pt x="3552652" y="4763"/>
                </a:cubicBez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150008" y="4975225"/>
            <a:ext cx="3271178" cy="82296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80340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61100" y="3163874"/>
            <a:ext cx="548640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7" name="Rectangle 6">
            <a:extLst>
              <a:ext uri="{FF2B5EF4-FFF2-40B4-BE49-F238E27FC236}">
                <a16:creationId xmlns:a16="http://schemas.microsoft.com/office/drawing/2014/main" id="{66869BB4-81C8-4935-AA15-82CB480F24D6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631421" y="6681543"/>
            <a:ext cx="38856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910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pictur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2D8954-180F-4C00-166C-FDD7C6AE7FC7}"/>
              </a:ext>
            </a:extLst>
          </p:cNvPr>
          <p:cNvSpPr/>
          <p:nvPr userDrawn="1"/>
        </p:nvSpPr>
        <p:spPr>
          <a:xfrm>
            <a:off x="1524" y="4992785"/>
            <a:ext cx="12188952" cy="1867974"/>
          </a:xfrm>
          <a:custGeom>
            <a:avLst/>
            <a:gdLst>
              <a:gd name="connsiteX0" fmla="*/ 0 w 12197654"/>
              <a:gd name="connsiteY0" fmla="*/ 0 h 1867974"/>
              <a:gd name="connsiteX1" fmla="*/ 2255000 w 12197654"/>
              <a:gd name="connsiteY1" fmla="*/ 0 h 1867974"/>
              <a:gd name="connsiteX2" fmla="*/ 2661240 w 12197654"/>
              <a:gd name="connsiteY2" fmla="*/ 203741 h 1867974"/>
              <a:gd name="connsiteX3" fmla="*/ 12197654 w 12197654"/>
              <a:gd name="connsiteY3" fmla="*/ 203741 h 1867974"/>
              <a:gd name="connsiteX4" fmla="*/ 12197654 w 12197654"/>
              <a:gd name="connsiteY4" fmla="*/ 1555826 h 1867974"/>
              <a:gd name="connsiteX5" fmla="*/ 12197523 w 12197654"/>
              <a:gd name="connsiteY5" fmla="*/ 1606796 h 1867974"/>
              <a:gd name="connsiteX6" fmla="*/ 12197654 w 12197654"/>
              <a:gd name="connsiteY6" fmla="*/ 1606796 h 1867974"/>
              <a:gd name="connsiteX7" fmla="*/ 12197654 w 12197654"/>
              <a:gd name="connsiteY7" fmla="*/ 1867974 h 1867974"/>
              <a:gd name="connsiteX8" fmla="*/ 0 w 12197654"/>
              <a:gd name="connsiteY8" fmla="*/ 1867974 h 1867974"/>
              <a:gd name="connsiteX9" fmla="*/ 0 w 12197654"/>
              <a:gd name="connsiteY9" fmla="*/ 1765823 h 1867974"/>
              <a:gd name="connsiteX10" fmla="*/ 0 w 12197654"/>
              <a:gd name="connsiteY10" fmla="*/ 1606796 h 1867974"/>
              <a:gd name="connsiteX11" fmla="*/ 0 w 12197654"/>
              <a:gd name="connsiteY11" fmla="*/ 0 h 1867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7654" h="1867974">
                <a:moveTo>
                  <a:pt x="0" y="0"/>
                </a:moveTo>
                <a:lnTo>
                  <a:pt x="2255000" y="0"/>
                </a:lnTo>
                <a:lnTo>
                  <a:pt x="2661240" y="203741"/>
                </a:lnTo>
                <a:lnTo>
                  <a:pt x="12197654" y="203741"/>
                </a:lnTo>
                <a:lnTo>
                  <a:pt x="12197654" y="1555826"/>
                </a:lnTo>
                <a:lnTo>
                  <a:pt x="12197523" y="1606796"/>
                </a:lnTo>
                <a:lnTo>
                  <a:pt x="12197654" y="1606796"/>
                </a:lnTo>
                <a:lnTo>
                  <a:pt x="12197654" y="1867974"/>
                </a:lnTo>
                <a:lnTo>
                  <a:pt x="0" y="1867974"/>
                </a:lnTo>
                <a:lnTo>
                  <a:pt x="0" y="1765823"/>
                </a:lnTo>
                <a:lnTo>
                  <a:pt x="0" y="1606796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16870" y="5570491"/>
            <a:ext cx="11558261" cy="553998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48D662-6523-4218-8C74-57E67EA487D2}"/>
              </a:ext>
            </a:extLst>
          </p:cNvPr>
          <p:cNvGrpSpPr/>
          <p:nvPr userDrawn="1"/>
        </p:nvGrpSpPr>
        <p:grpSpPr>
          <a:xfrm rot="5400000" flipH="1">
            <a:off x="962407" y="4366486"/>
            <a:ext cx="291600" cy="1831259"/>
            <a:chOff x="3543713" y="2978301"/>
            <a:chExt cx="478233" cy="307141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68EE3B7-86A3-46E4-8C18-4177BE6F23D3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400A465-8170-4E06-8AC4-0B4E97C1BA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0" y="5048006"/>
              <a:ext cx="0" cy="1001713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0F3370D-BB7A-49E6-B98E-026D631B9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3" y="6037790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9FFB38F-5C8B-DF21-B268-D6E1CB3D3583}"/>
              </a:ext>
            </a:extLst>
          </p:cNvPr>
          <p:cNvGrpSpPr/>
          <p:nvPr userDrawn="1"/>
        </p:nvGrpSpPr>
        <p:grpSpPr>
          <a:xfrm rot="16200000" flipH="1">
            <a:off x="10924512" y="5417616"/>
            <a:ext cx="291600" cy="1828800"/>
            <a:chOff x="3543714" y="2978301"/>
            <a:chExt cx="478233" cy="306729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D344055-2D39-69DD-25FB-827181CACA17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5ACA586-8362-EFD0-676D-864900FF08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556A9DF-5205-00C5-90FB-CC5179B05A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AD71F6-E09D-25DA-AF4B-0091A259BCCA}"/>
              </a:ext>
            </a:extLst>
          </p:cNvPr>
          <p:cNvSpPr/>
          <p:nvPr userDrawn="1"/>
        </p:nvSpPr>
        <p:spPr>
          <a:xfrm>
            <a:off x="3048" y="6624535"/>
            <a:ext cx="12188952" cy="233465"/>
          </a:xfrm>
          <a:custGeom>
            <a:avLst/>
            <a:gdLst>
              <a:gd name="connsiteX0" fmla="*/ 91135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233465 h 233465"/>
              <a:gd name="connsiteX3" fmla="*/ 9193089 w 12188952"/>
              <a:gd name="connsiteY3" fmla="*/ 233465 h 233465"/>
              <a:gd name="connsiteX4" fmla="*/ 1067788 w 12188952"/>
              <a:gd name="connsiteY4" fmla="*/ 233465 h 233465"/>
              <a:gd name="connsiteX5" fmla="*/ 34048 w 12188952"/>
              <a:gd name="connsiteY5" fmla="*/ 233465 h 233465"/>
              <a:gd name="connsiteX6" fmla="*/ 0 w 12188952"/>
              <a:gd name="connsiteY6" fmla="*/ 233465 h 233465"/>
              <a:gd name="connsiteX7" fmla="*/ 0 w 12188952"/>
              <a:gd name="connsiteY7" fmla="*/ 169375 h 233465"/>
              <a:gd name="connsiteX8" fmla="*/ 0 w 12188952"/>
              <a:gd name="connsiteY8" fmla="*/ 138901 h 233465"/>
              <a:gd name="connsiteX9" fmla="*/ 8102154 w 12188952"/>
              <a:gd name="connsiteY9" fmla="*/ 138901 h 233465"/>
              <a:gd name="connsiteX10" fmla="*/ 8867404 w 12188952"/>
              <a:gd name="connsiteY10" fmla="*/ 141641 h 233465"/>
              <a:gd name="connsiteX11" fmla="*/ 8872166 w 12188952"/>
              <a:gd name="connsiteY11" fmla="*/ 138901 h 233465"/>
              <a:gd name="connsiteX12" fmla="*/ 8877180 w 12188952"/>
              <a:gd name="connsiteY12" fmla="*/ 138901 h 233465"/>
              <a:gd name="connsiteX13" fmla="*/ 8877180 w 12188952"/>
              <a:gd name="connsiteY13" fmla="*/ 136016 h 233465"/>
              <a:gd name="connsiteX14" fmla="*/ 9113570 w 12188952"/>
              <a:gd name="connsiteY14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88952" h="233465">
                <a:moveTo>
                  <a:pt x="9113570" y="0"/>
                </a:moveTo>
                <a:lnTo>
                  <a:pt x="12188952" y="0"/>
                </a:lnTo>
                <a:lnTo>
                  <a:pt x="12188952" y="233465"/>
                </a:lnTo>
                <a:lnTo>
                  <a:pt x="9193089" y="233465"/>
                </a:lnTo>
                <a:lnTo>
                  <a:pt x="1067788" y="233465"/>
                </a:lnTo>
                <a:lnTo>
                  <a:pt x="34048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38901"/>
                </a:lnTo>
                <a:lnTo>
                  <a:pt x="8102154" y="138901"/>
                </a:lnTo>
                <a:lnTo>
                  <a:pt x="8867404" y="141641"/>
                </a:lnTo>
                <a:lnTo>
                  <a:pt x="8872166" y="138901"/>
                </a:lnTo>
                <a:lnTo>
                  <a:pt x="8877180" y="138901"/>
                </a:lnTo>
                <a:lnTo>
                  <a:pt x="8877180" y="136016"/>
                </a:lnTo>
                <a:lnTo>
                  <a:pt x="91135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08EFC9A3-DD65-012F-35F9-FF4F5A154E0B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79711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40000"/>
                  <a:lumOff val="60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536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504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997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659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7129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097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0497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79958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98090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709928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204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9986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219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198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82692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2474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71648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71430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16054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26253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431988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34303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8507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8507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95408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95408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92309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92309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89210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89210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9089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87800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8160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784701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A443D19A-1751-43D6-A160-5296A53060F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57850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D8C84A-E732-4EA8-8388-80FC2F2F60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86112" y="2864755"/>
            <a:ext cx="1600200" cy="2215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FB3A0-2394-412A-B5B0-D0E4A63CD9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86112" y="4784343"/>
            <a:ext cx="1600200" cy="55778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en-US" dirty="0"/>
              <a:t>Add a short paragraph – not too long – or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25164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 Image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D242E68-DB69-0BDE-8CFA-EE8E56F385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38FCC23-BDD1-F710-B482-0FABFC7EB531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  <a:blipFill>
            <a:blip r:embed="rId6"/>
            <a:stretch>
              <a:fillRect/>
            </a:stretch>
          </a:blip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4EDEC61-755F-847C-3A1C-15F6C4CEE1CD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50952AD-C5FA-6E40-C6D7-55FCAC2EDF0B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1D634A7-584F-529A-3A17-000833E3576C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6BA9175-7396-D667-D2ED-43F3ABC9A0EB}"/>
              </a:ext>
            </a:extLst>
          </p:cNvPr>
          <p:cNvSpPr/>
          <p:nvPr userDrawn="1"/>
        </p:nvSpPr>
        <p:spPr>
          <a:xfrm rot="13821780">
            <a:off x="8007167" y="1970199"/>
            <a:ext cx="5029645" cy="6007608"/>
          </a:xfrm>
          <a:custGeom>
            <a:avLst/>
            <a:gdLst>
              <a:gd name="connsiteX0" fmla="*/ 3516449 w 5029645"/>
              <a:gd name="connsiteY0" fmla="*/ 5994907 h 5994907"/>
              <a:gd name="connsiteX1" fmla="*/ 1394416 w 5029645"/>
              <a:gd name="connsiteY1" fmla="*/ 4237097 h 5994907"/>
              <a:gd name="connsiteX2" fmla="*/ 1677138 w 5029645"/>
              <a:gd name="connsiteY2" fmla="*/ 3756672 h 5994907"/>
              <a:gd name="connsiteX3" fmla="*/ 1317698 w 5029645"/>
              <a:gd name="connsiteY3" fmla="*/ 3124534 h 5994907"/>
              <a:gd name="connsiteX4" fmla="*/ 920847 w 5029645"/>
              <a:gd name="connsiteY4" fmla="*/ 3844814 h 5994907"/>
              <a:gd name="connsiteX5" fmla="*/ 280815 w 5029645"/>
              <a:gd name="connsiteY5" fmla="*/ 3314638 h 5994907"/>
              <a:gd name="connsiteX6" fmla="*/ 280817 w 5029645"/>
              <a:gd name="connsiteY6" fmla="*/ 3314636 h 5994907"/>
              <a:gd name="connsiteX7" fmla="*/ 0 w 5029645"/>
              <a:gd name="connsiteY7" fmla="*/ 3082019 h 5994907"/>
              <a:gd name="connsiteX8" fmla="*/ 2553021 w 5029645"/>
              <a:gd name="connsiteY8" fmla="*/ 0 h 5994907"/>
              <a:gd name="connsiteX9" fmla="*/ 3082168 w 5029645"/>
              <a:gd name="connsiteY9" fmla="*/ 0 h 5994907"/>
              <a:gd name="connsiteX10" fmla="*/ 3870352 w 5029645"/>
              <a:gd name="connsiteY10" fmla="*/ 1377053 h 5994907"/>
              <a:gd name="connsiteX11" fmla="*/ 5029645 w 5029645"/>
              <a:gd name="connsiteY11" fmla="*/ 3437574 h 5994907"/>
              <a:gd name="connsiteX12" fmla="*/ 3516449 w 5029645"/>
              <a:gd name="connsiteY12" fmla="*/ 5994907 h 5994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29645" h="5994907">
                <a:moveTo>
                  <a:pt x="3516449" y="5994907"/>
                </a:moveTo>
                <a:lnTo>
                  <a:pt x="1394416" y="4237097"/>
                </a:lnTo>
                <a:lnTo>
                  <a:pt x="1677138" y="3756672"/>
                </a:lnTo>
                <a:lnTo>
                  <a:pt x="1317698" y="3124534"/>
                </a:lnTo>
                <a:lnTo>
                  <a:pt x="920847" y="3844814"/>
                </a:lnTo>
                <a:lnTo>
                  <a:pt x="280815" y="3314638"/>
                </a:lnTo>
                <a:lnTo>
                  <a:pt x="280817" y="3314636"/>
                </a:lnTo>
                <a:lnTo>
                  <a:pt x="0" y="3082019"/>
                </a:lnTo>
                <a:lnTo>
                  <a:pt x="2553021" y="0"/>
                </a:lnTo>
                <a:lnTo>
                  <a:pt x="3082168" y="0"/>
                </a:lnTo>
                <a:lnTo>
                  <a:pt x="3870352" y="1377053"/>
                </a:lnTo>
                <a:lnTo>
                  <a:pt x="5029645" y="3437574"/>
                </a:lnTo>
                <a:lnTo>
                  <a:pt x="3516449" y="5994907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78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9525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dirty="0"/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media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26671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527C3079-74F1-5795-1D72-139A6732D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812" t="15533" r="79840" b="29168"/>
          <a:stretch/>
        </p:blipFill>
        <p:spPr>
          <a:xfrm>
            <a:off x="2479716" y="3017520"/>
            <a:ext cx="1884048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1D871AB-3CB7-DBC7-11A0-68CC14197AD2}"/>
              </a:ext>
            </a:extLst>
          </p:cNvPr>
          <p:cNvGrpSpPr/>
          <p:nvPr userDrawn="1"/>
        </p:nvGrpSpPr>
        <p:grpSpPr>
          <a:xfrm>
            <a:off x="0" y="-3202"/>
            <a:ext cx="12192000" cy="6857999"/>
            <a:chOff x="1" y="-3203"/>
            <a:chExt cx="12192000" cy="6857999"/>
          </a:xfrm>
        </p:grpSpPr>
        <p:pic>
          <p:nvPicPr>
            <p:cNvPr id="4" name="Picture 3" descr="Background pattern&#10;&#10;Description automatically generated">
              <a:extLst>
                <a:ext uri="{FF2B5EF4-FFF2-40B4-BE49-F238E27FC236}">
                  <a16:creationId xmlns:a16="http://schemas.microsoft.com/office/drawing/2014/main" id="{543DAEE0-68FF-7A4A-E6E2-6487A44E4AB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974" t="11245" b="4417"/>
            <a:stretch/>
          </p:blipFill>
          <p:spPr>
            <a:xfrm>
              <a:off x="1" y="-3203"/>
              <a:ext cx="12192000" cy="6857999"/>
            </a:xfrm>
            <a:prstGeom prst="rect">
              <a:avLst/>
            </a:prstGeom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81A2386-0875-C51F-8E94-C114ABDD6515}"/>
                </a:ext>
              </a:extLst>
            </p:cNvPr>
            <p:cNvSpPr/>
            <p:nvPr userDrawn="1"/>
          </p:nvSpPr>
          <p:spPr>
            <a:xfrm rot="18679580">
              <a:off x="5571697" y="2250091"/>
              <a:ext cx="5236260" cy="1832698"/>
            </a:xfrm>
            <a:prstGeom prst="roundRect">
              <a:avLst/>
            </a:prstGeom>
            <a:solidFill>
              <a:srgbClr val="F8F9FA">
                <a:alpha val="64000"/>
              </a:srgbClr>
            </a:solidFill>
            <a:ln>
              <a:noFill/>
            </a:ln>
            <a:effectLst>
              <a:softEdge rad="444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38" name="Hexagon 37">
            <a:hlinkClick r:id="rId3"/>
            <a:extLst>
              <a:ext uri="{FF2B5EF4-FFF2-40B4-BE49-F238E27FC236}">
                <a16:creationId xmlns:a16="http://schemas.microsoft.com/office/drawing/2014/main" id="{DED605E0-8598-6527-D1CB-47AA5285E3CC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61911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4" name="Graphic 33">
            <a:hlinkClick r:id="rId3"/>
            <a:extLst>
              <a:ext uri="{FF2B5EF4-FFF2-40B4-BE49-F238E27FC236}">
                <a16:creationId xmlns:a16="http://schemas.microsoft.com/office/drawing/2014/main" id="{D2EACDD3-D1C7-E55B-D092-3123937A3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218" b="2341"/>
          <a:stretch/>
        </p:blipFill>
        <p:spPr>
          <a:xfrm>
            <a:off x="1736658" y="5960326"/>
            <a:ext cx="197214" cy="190196"/>
          </a:xfrm>
          <a:prstGeom prst="rect">
            <a:avLst/>
          </a:prstGeom>
        </p:spPr>
      </p:pic>
      <p:sp>
        <p:nvSpPr>
          <p:cNvPr id="39" name="Hexagon 38">
            <a:hlinkClick r:id="rId6"/>
            <a:extLst>
              <a:ext uri="{FF2B5EF4-FFF2-40B4-BE49-F238E27FC236}">
                <a16:creationId xmlns:a16="http://schemas.microsoft.com/office/drawing/2014/main" id="{A15E26A9-D153-6A0F-564B-DA6917BB0A96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6854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Hexagon 36">
            <a:hlinkClick r:id="rId7"/>
            <a:extLst>
              <a:ext uri="{FF2B5EF4-FFF2-40B4-BE49-F238E27FC236}">
                <a16:creationId xmlns:a16="http://schemas.microsoft.com/office/drawing/2014/main" id="{08BC02B3-C2F7-9D13-78FC-5950CFE4CA9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206968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0" name="Hexagon 39">
            <a:hlinkClick r:id="rId8"/>
            <a:extLst>
              <a:ext uri="{FF2B5EF4-FFF2-40B4-BE49-F238E27FC236}">
                <a16:creationId xmlns:a16="http://schemas.microsoft.com/office/drawing/2014/main" id="{90620A96-694B-2190-7267-063881DCF125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717970" y="5880567"/>
            <a:ext cx="424288" cy="365760"/>
          </a:xfrm>
          <a:prstGeom prst="hexagon">
            <a:avLst>
              <a:gd name="adj" fmla="val 27395"/>
              <a:gd name="vf" fmla="val 115470"/>
            </a:avLst>
          </a:prstGeom>
          <a:solidFill>
            <a:schemeClr val="accent1">
              <a:alpha val="8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F5FAB53-1E11-8232-4324-26C9A534ACEC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9209CE69-B58A-CD94-1A0D-B924809C102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  <a:latin typeface="+mn-lt"/>
                </a:rPr>
                <a:t>you</a:t>
              </a:r>
            </a:p>
          </p:txBody>
        </p:sp>
        <p:sp>
          <p:nvSpPr>
            <p:cNvPr id="7" name="Title 5">
              <a:extLst>
                <a:ext uri="{FF2B5EF4-FFF2-40B4-BE49-F238E27FC236}">
                  <a16:creationId xmlns:a16="http://schemas.microsoft.com/office/drawing/2014/main" id="{65614916-0AC4-921A-F1CB-C14983494CE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thank</a:t>
              </a:r>
            </a:p>
          </p:txBody>
        </p:sp>
      </p:grpSp>
      <p:sp>
        <p:nvSpPr>
          <p:cNvPr id="8" name="object 20">
            <a:hlinkClick r:id="rId9"/>
            <a:extLst>
              <a:ext uri="{FF2B5EF4-FFF2-40B4-BE49-F238E27FC236}">
                <a16:creationId xmlns:a16="http://schemas.microsoft.com/office/drawing/2014/main" id="{D85769D8-0336-3C75-4571-FC38B6D03036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pic>
        <p:nvPicPr>
          <p:cNvPr id="33" name="Graphic 32">
            <a:hlinkClick r:id="rId8"/>
            <a:extLst>
              <a:ext uri="{FF2B5EF4-FFF2-40B4-BE49-F238E27FC236}">
                <a16:creationId xmlns:a16="http://schemas.microsoft.com/office/drawing/2014/main" id="{515C720B-8A21-2EAE-EE38-12998E3865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6405" r="25557"/>
          <a:stretch/>
        </p:blipFill>
        <p:spPr>
          <a:xfrm>
            <a:off x="882745" y="5964841"/>
            <a:ext cx="94738" cy="197213"/>
          </a:xfrm>
          <a:prstGeom prst="rect">
            <a:avLst/>
          </a:prstGeom>
        </p:spPr>
      </p:pic>
      <p:pic>
        <p:nvPicPr>
          <p:cNvPr id="36" name="Graphic 35">
            <a:hlinkClick r:id="rId7"/>
            <a:extLst>
              <a:ext uri="{FF2B5EF4-FFF2-40B4-BE49-F238E27FC236}">
                <a16:creationId xmlns:a16="http://schemas.microsoft.com/office/drawing/2014/main" id="{1FAFCC63-271F-4BCC-8F15-3471B1DA7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5936" t="8018" r="5241" b="7816"/>
          <a:stretch/>
        </p:blipFill>
        <p:spPr>
          <a:xfrm>
            <a:off x="2175144" y="5979442"/>
            <a:ext cx="213360" cy="15196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9C1B2A86-FD3D-82CB-96F3-C4A449E96D4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6463" y="463288"/>
            <a:ext cx="1898903" cy="729616"/>
          </a:xfrm>
          <a:prstGeom prst="rect">
            <a:avLst/>
          </a:prstGeom>
        </p:spPr>
      </p:pic>
      <p:pic>
        <p:nvPicPr>
          <p:cNvPr id="10" name="Picture 9" descr="A white x on a black background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C2C88619-728A-FD43-59C5-F9B8A2C36688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220" y="5972007"/>
            <a:ext cx="178929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88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 Image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4C0456C7-A1E1-0EFB-710C-AB2FC9966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4000"/>
          </a:blip>
          <a:srcRect t="31798" r="3915" b="5368"/>
          <a:stretch/>
        </p:blipFill>
        <p:spPr>
          <a:xfrm>
            <a:off x="1044453" y="0"/>
            <a:ext cx="11147547" cy="78911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1ED4E1A-72F6-D21C-203D-3F3F74AA1D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4818033"/>
            <a:ext cx="448056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155633"/>
            <a:ext cx="429768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06654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1"/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467508"/>
            <a:ext cx="4916472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0E3E1F6-F449-9588-A677-261966BB16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40" y="5662174"/>
            <a:ext cx="2892560" cy="2153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49EEE3E-BF91-2C2E-C87D-4E9F887C8101}"/>
              </a:ext>
            </a:extLst>
          </p:cNvPr>
          <p:cNvSpPr/>
          <p:nvPr userDrawn="1"/>
        </p:nvSpPr>
        <p:spPr>
          <a:xfrm>
            <a:off x="5718175" y="238125"/>
            <a:ext cx="250825" cy="457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9EE7607B-1806-17F2-7A7E-D9CA0C2DCC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84574" y="296117"/>
            <a:ext cx="7410564" cy="6306407"/>
          </a:xfrm>
          <a:custGeom>
            <a:avLst/>
            <a:gdLst>
              <a:gd name="connsiteX0" fmla="*/ 0 w 7410564"/>
              <a:gd name="connsiteY0" fmla="*/ 0 h 6306407"/>
              <a:gd name="connsiteX1" fmla="*/ 7410564 w 7410564"/>
              <a:gd name="connsiteY1" fmla="*/ 0 h 6306407"/>
              <a:gd name="connsiteX2" fmla="*/ 7410564 w 7410564"/>
              <a:gd name="connsiteY2" fmla="*/ 6306407 h 6306407"/>
              <a:gd name="connsiteX3" fmla="*/ 0 w 7410564"/>
              <a:gd name="connsiteY3" fmla="*/ 6306407 h 6306407"/>
              <a:gd name="connsiteX4" fmla="*/ 0 w 7410564"/>
              <a:gd name="connsiteY4" fmla="*/ 0 h 6306407"/>
              <a:gd name="connsiteX0" fmla="*/ 2558143 w 7410564"/>
              <a:gd name="connsiteY0" fmla="*/ 0 h 6306407"/>
              <a:gd name="connsiteX1" fmla="*/ 7410564 w 7410564"/>
              <a:gd name="connsiteY1" fmla="*/ 0 h 6306407"/>
              <a:gd name="connsiteX2" fmla="*/ 7410564 w 7410564"/>
              <a:gd name="connsiteY2" fmla="*/ 6306407 h 6306407"/>
              <a:gd name="connsiteX3" fmla="*/ 0 w 7410564"/>
              <a:gd name="connsiteY3" fmla="*/ 6306407 h 6306407"/>
              <a:gd name="connsiteX4" fmla="*/ 2558143 w 7410564"/>
              <a:gd name="connsiteY4" fmla="*/ 0 h 630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564" h="6306407">
                <a:moveTo>
                  <a:pt x="2558143" y="0"/>
                </a:moveTo>
                <a:lnTo>
                  <a:pt x="7410564" y="0"/>
                </a:lnTo>
                <a:lnTo>
                  <a:pt x="7410564" y="6306407"/>
                </a:lnTo>
                <a:lnTo>
                  <a:pt x="0" y="6306407"/>
                </a:lnTo>
                <a:lnTo>
                  <a:pt x="2558143" y="0"/>
                </a:lnTo>
                <a:close/>
              </a:path>
            </a:pathLst>
          </a:custGeom>
          <a:gradFill>
            <a:gsLst>
              <a:gs pos="40000">
                <a:srgbClr val="BFBFBF">
                  <a:alpha val="84000"/>
                </a:srgbClr>
              </a:gs>
              <a:gs pos="4000">
                <a:schemeClr val="bg1">
                  <a:lumMod val="50000"/>
                  <a:alpha val="29000"/>
                </a:schemeClr>
              </a:gs>
              <a:gs pos="100000">
                <a:schemeClr val="bg1"/>
              </a:gs>
            </a:gsLst>
            <a:lin ang="5400000" scaled="0"/>
          </a:gradFill>
          <a:ln w="635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7315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spcBef>
                <a:spcPts val="800"/>
              </a:spcBef>
              <a:buNone/>
            </a:pPr>
            <a:r>
              <a:rPr lang="en-US" dirty="0"/>
              <a:t>Click picture icon to add imag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8D9F45E-2A15-FCFB-9C52-27724A4A65DA}"/>
              </a:ext>
            </a:extLst>
          </p:cNvPr>
          <p:cNvGrpSpPr>
            <a:grpSpLocks noChangeAspect="1"/>
          </p:cNvGrpSpPr>
          <p:nvPr userDrawn="1"/>
        </p:nvGrpSpPr>
        <p:grpSpPr>
          <a:xfrm rot="1320000" flipH="1" flipV="1">
            <a:off x="6098947" y="633446"/>
            <a:ext cx="116012" cy="3017520"/>
            <a:chOff x="5814441" y="100216"/>
            <a:chExt cx="152274" cy="3960685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EC73AE-4BC0-FB49-93E1-F7564972211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D597066-B041-5718-7DCC-E752FF06AD1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F846B79-6F82-CEBB-FD3B-D14053B6BFD8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5D4DCC4-4130-4760-9947-BB3E9C01CE49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985F8FD8-D6E1-BE52-A094-AF51891DEB5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4E80FD9-B9BF-81FC-2093-D8F1E8CF6351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AABD0ED-EFBD-C010-54F5-CDC7B24E65B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50F5E40A-79D8-678C-73E3-4EF0AA112596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DCAF42B6-613E-BC31-B440-9E2A6AD2C4E3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CA73FC7-DC7A-8CAC-953D-4FA07CE7502A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8899493-FB39-27EB-B3C9-4819EA6551B6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FBEE1DD-62E8-D405-8327-745748E5A71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D5383DB-7044-87F6-398D-F1448F90C1BF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61B3D47-EC48-E9F5-BC04-9BFCC048F072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80E5BEDE-0075-291F-A627-DCC49DE58EE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0FAB4FD-F945-0EC4-DD7C-4B4CA0BEDF2D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1E189B30-139A-3C4F-C794-ED6E64048E3F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C7CEB64-718A-AA73-91EB-5CF17DA68D80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7CFFAE8-CDFC-245D-885F-003BC96B8310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7B12A386-3331-18E3-91F9-9BD37549F3DC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219EADD-46E9-CD94-927F-9F13632E320C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D04754C9-9853-3FF1-1EC1-49CC3B4D9AC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33B0669-AFC8-B919-0363-EE711857B160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CFE669A-2635-450D-0AD7-DDC56C56F78B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C5A24DB-BE1C-4557-1D40-05B9E4AA0EC1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13A2414-6525-68F1-EAC3-5CEC87E72FE1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6DBD08D-98C8-2DD9-0948-D2245E2B415B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ADD541C1-C393-1B1C-58E9-37B6DC55B2E6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097EE31-4575-7319-371C-190766A41F50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3BE5A0E2-283E-A156-05C3-377105192C19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4A01FD49-ABC3-70C9-A5D7-8ED309A23638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5CE09F9-A2EA-7101-C828-55D150209C53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E81F50C-8CA7-34B8-882B-3706F02A6061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9" name="Graphic 48">
            <a:extLst>
              <a:ext uri="{FF2B5EF4-FFF2-40B4-BE49-F238E27FC236}">
                <a16:creationId xmlns:a16="http://schemas.microsoft.com/office/drawing/2014/main" id="{48FA6791-AD60-D6B8-D154-8B71914092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7520000">
            <a:off x="4299006" y="5855517"/>
            <a:ext cx="726440" cy="9144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9046FB4-819A-AA06-68EB-39ADF629CF6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3103" y="442968"/>
            <a:ext cx="1898903" cy="72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740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3317129"/>
            <a:ext cx="3108960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E0358D3-AC90-494A-B98F-19BDE159DB8E}"/>
              </a:ext>
            </a:extLst>
          </p:cNvPr>
          <p:cNvCxnSpPr>
            <a:cxnSpLocks/>
          </p:cNvCxnSpPr>
          <p:nvPr userDrawn="1"/>
        </p:nvCxnSpPr>
        <p:spPr>
          <a:xfrm>
            <a:off x="3805843" y="1051560"/>
            <a:ext cx="0" cy="475488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3C623BC-A0F7-46D7-87A2-096962F1FEC4}"/>
              </a:ext>
            </a:extLst>
          </p:cNvPr>
          <p:cNvSpPr/>
          <p:nvPr userDrawn="1"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261691-7E98-456C-8945-F79E150DD66B}"/>
              </a:ext>
            </a:extLst>
          </p:cNvPr>
          <p:cNvSpPr/>
          <p:nvPr userDrawn="1"/>
        </p:nvSpPr>
        <p:spPr>
          <a:xfrm>
            <a:off x="490760" y="259080"/>
            <a:ext cx="1109440" cy="426721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431AD-6A0B-4A59-8F14-809C8AA5B3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32965" y="2533884"/>
            <a:ext cx="7068498" cy="1790234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57200" indent="-457200">
              <a:defRPr lang="en-US" sz="3600" dirty="0" smtClean="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488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2752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58F95B26-E9C8-461F-A9CE-9322F34A89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E8DB86CA-D14E-4B53-BA61-EA587191FB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57200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42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43" Type="http://schemas.openxmlformats.org/officeDocument/2006/relationships/image" Target="../media/image6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37" imgW="383" imgH="384" progId="TCLayout.ActiveDocument.1">
                  <p:embed/>
                </p:oleObj>
              </mc:Choice>
              <mc:Fallback>
                <p:oleObj name="think-cell Slide" r:id="rId3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709928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CD2066A-3AAA-4679-6307-6D4C0B5B1912}"/>
              </a:ext>
            </a:extLst>
          </p:cNvPr>
          <p:cNvSpPr/>
          <p:nvPr userDrawn="1"/>
        </p:nvSpPr>
        <p:spPr>
          <a:xfrm>
            <a:off x="3048" y="6624535"/>
            <a:ext cx="12188952" cy="233465"/>
          </a:xfrm>
          <a:custGeom>
            <a:avLst/>
            <a:gdLst>
              <a:gd name="connsiteX0" fmla="*/ 91135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233465 h 233465"/>
              <a:gd name="connsiteX3" fmla="*/ 9193089 w 12188952"/>
              <a:gd name="connsiteY3" fmla="*/ 233465 h 233465"/>
              <a:gd name="connsiteX4" fmla="*/ 1067788 w 12188952"/>
              <a:gd name="connsiteY4" fmla="*/ 233465 h 233465"/>
              <a:gd name="connsiteX5" fmla="*/ 34048 w 12188952"/>
              <a:gd name="connsiteY5" fmla="*/ 233465 h 233465"/>
              <a:gd name="connsiteX6" fmla="*/ 0 w 12188952"/>
              <a:gd name="connsiteY6" fmla="*/ 233465 h 233465"/>
              <a:gd name="connsiteX7" fmla="*/ 0 w 12188952"/>
              <a:gd name="connsiteY7" fmla="*/ 169375 h 233465"/>
              <a:gd name="connsiteX8" fmla="*/ 0 w 12188952"/>
              <a:gd name="connsiteY8" fmla="*/ 138901 h 233465"/>
              <a:gd name="connsiteX9" fmla="*/ 8102154 w 12188952"/>
              <a:gd name="connsiteY9" fmla="*/ 138901 h 233465"/>
              <a:gd name="connsiteX10" fmla="*/ 8867404 w 12188952"/>
              <a:gd name="connsiteY10" fmla="*/ 141641 h 233465"/>
              <a:gd name="connsiteX11" fmla="*/ 8872166 w 12188952"/>
              <a:gd name="connsiteY11" fmla="*/ 138901 h 233465"/>
              <a:gd name="connsiteX12" fmla="*/ 8877180 w 12188952"/>
              <a:gd name="connsiteY12" fmla="*/ 138901 h 233465"/>
              <a:gd name="connsiteX13" fmla="*/ 8877180 w 12188952"/>
              <a:gd name="connsiteY13" fmla="*/ 136016 h 233465"/>
              <a:gd name="connsiteX14" fmla="*/ 9113570 w 12188952"/>
              <a:gd name="connsiteY14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88952" h="233465">
                <a:moveTo>
                  <a:pt x="9113570" y="0"/>
                </a:moveTo>
                <a:lnTo>
                  <a:pt x="12188952" y="0"/>
                </a:lnTo>
                <a:lnTo>
                  <a:pt x="12188952" y="233465"/>
                </a:lnTo>
                <a:lnTo>
                  <a:pt x="9193089" y="233465"/>
                </a:lnTo>
                <a:lnTo>
                  <a:pt x="1067788" y="233465"/>
                </a:lnTo>
                <a:lnTo>
                  <a:pt x="34048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38901"/>
                </a:lnTo>
                <a:lnTo>
                  <a:pt x="8102154" y="138901"/>
                </a:lnTo>
                <a:lnTo>
                  <a:pt x="8867404" y="141641"/>
                </a:lnTo>
                <a:lnTo>
                  <a:pt x="8872166" y="138901"/>
                </a:lnTo>
                <a:lnTo>
                  <a:pt x="8877180" y="138901"/>
                </a:lnTo>
                <a:lnTo>
                  <a:pt x="8877180" y="136016"/>
                </a:lnTo>
                <a:lnTo>
                  <a:pt x="91135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1567159" y="6679711"/>
            <a:ext cx="4528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40000"/>
                    <a:lumOff val="60000"/>
                  </a:schemeClr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40000"/>
                  <a:lumOff val="60000"/>
                </a:schemeClr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4157" r:id="rId2"/>
    <p:sldLayoutId id="2147484277" r:id="rId3"/>
    <p:sldLayoutId id="2147484276" r:id="rId4"/>
    <p:sldLayoutId id="2147484059" r:id="rId5"/>
    <p:sldLayoutId id="2147483998" r:id="rId6"/>
    <p:sldLayoutId id="2147483999" r:id="rId7"/>
    <p:sldLayoutId id="2147484000" r:id="rId8"/>
    <p:sldLayoutId id="2147483652" r:id="rId9"/>
    <p:sldLayoutId id="2147483653" r:id="rId10"/>
    <p:sldLayoutId id="2147483654" r:id="rId11"/>
    <p:sldLayoutId id="2147484218" r:id="rId12"/>
    <p:sldLayoutId id="2147483972" r:id="rId13"/>
    <p:sldLayoutId id="2147483938" r:id="rId14"/>
    <p:sldLayoutId id="2147484231" r:id="rId15"/>
    <p:sldLayoutId id="2147484271" r:id="rId16"/>
    <p:sldLayoutId id="2147484063" r:id="rId17"/>
    <p:sldLayoutId id="2147484001" r:id="rId18"/>
    <p:sldLayoutId id="2147484002" r:id="rId19"/>
    <p:sldLayoutId id="2147484114" r:id="rId20"/>
    <p:sldLayoutId id="2147484212" r:id="rId21"/>
    <p:sldLayoutId id="2147484227" r:id="rId22"/>
    <p:sldLayoutId id="2147484228" r:id="rId23"/>
    <p:sldLayoutId id="2147484220" r:id="rId24"/>
    <p:sldLayoutId id="2147483963" r:id="rId25"/>
    <p:sldLayoutId id="2147483956" r:id="rId26"/>
    <p:sldLayoutId id="2147483992" r:id="rId27"/>
    <p:sldLayoutId id="2147484060" r:id="rId28"/>
    <p:sldLayoutId id="2147484054" r:id="rId29"/>
    <p:sldLayoutId id="2147484062" r:id="rId30"/>
    <p:sldLayoutId id="2147484274" r:id="rId31"/>
    <p:sldLayoutId id="2147484272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41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88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4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43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173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44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9B7F8-F06F-4E9B-95B5-B05974962B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62E55D-4D82-4AC6-B19F-54FFC4102C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422" y="2744523"/>
            <a:ext cx="4409826" cy="994503"/>
          </a:xfrm>
        </p:spPr>
        <p:txBody>
          <a:bodyPr/>
          <a:lstStyle/>
          <a:p>
            <a:r>
              <a:rPr lang="en-US" sz="4000" dirty="0"/>
              <a:t>Vuforia studio </a:t>
            </a:r>
            <a:r>
              <a:rPr lang="en-US" sz="4000" dirty="0" err="1"/>
              <a:t>extentions</a:t>
            </a:r>
            <a:endParaRPr lang="en-US" sz="40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E314915-6DA6-49E4-AC3D-A0BC07D763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eve Ghe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5A3CA-BBCA-4111-8F80-F90EEDC44B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05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get.design.j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16788D-373D-41D7-A02E-BFA964BC2A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0761" y="678174"/>
            <a:ext cx="6554115" cy="2486372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59" y="1231108"/>
            <a:ext cx="4850001" cy="4572000"/>
          </a:xfrm>
        </p:spPr>
        <p:txBody>
          <a:bodyPr/>
          <a:lstStyle/>
          <a:p>
            <a:r>
              <a:rPr lang="en-GB" dirty="0" err="1"/>
              <a:t>ElementTag</a:t>
            </a:r>
            <a:endParaRPr lang="en-GB" dirty="0"/>
          </a:p>
          <a:p>
            <a:pPr lvl="1"/>
            <a:r>
              <a:rPr lang="en-GB" dirty="0"/>
              <a:t>We are defining (declaring) a web page, so the element tag here is the name of the html element that your widget will use</a:t>
            </a:r>
          </a:p>
          <a:p>
            <a:pPr lvl="2"/>
            <a:r>
              <a:rPr lang="en-GB" dirty="0"/>
              <a:t>Similar to &lt;body&gt; or &lt;a&gt; or &lt;p&gt;</a:t>
            </a:r>
          </a:p>
          <a:p>
            <a:r>
              <a:rPr lang="en-GB" dirty="0"/>
              <a:t>Label</a:t>
            </a:r>
          </a:p>
          <a:p>
            <a:pPr lvl="1"/>
            <a:r>
              <a:rPr lang="en-GB" dirty="0"/>
              <a:t>The name that appears in the widget display</a:t>
            </a:r>
          </a:p>
          <a:p>
            <a:pPr lvl="1"/>
            <a:r>
              <a:rPr lang="en-GB" dirty="0"/>
              <a:t>Icon name must match label</a:t>
            </a:r>
          </a:p>
          <a:p>
            <a:r>
              <a:rPr lang="en-GB" dirty="0"/>
              <a:t>Category</a:t>
            </a:r>
          </a:p>
          <a:p>
            <a:pPr lvl="1"/>
            <a:r>
              <a:rPr lang="en-GB" dirty="0"/>
              <a:t>If its 3d centric, use “</a:t>
            </a:r>
            <a:r>
              <a:rPr lang="en-GB" dirty="0" err="1"/>
              <a:t>ar</a:t>
            </a:r>
            <a:r>
              <a:rPr lang="en-GB" dirty="0"/>
              <a:t>” otherwise leave blank</a:t>
            </a:r>
          </a:p>
          <a:p>
            <a:r>
              <a:rPr lang="en-GB" dirty="0"/>
              <a:t>Groups</a:t>
            </a:r>
          </a:p>
          <a:p>
            <a:pPr lvl="1"/>
            <a:r>
              <a:rPr lang="en-GB" dirty="0"/>
              <a:t>Describe where to fit in the toolbox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714DF3-53BD-4129-A263-B3648B4EB3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413" t="9890" r="49789" b="58628"/>
          <a:stretch/>
        </p:blipFill>
        <p:spPr>
          <a:xfrm>
            <a:off x="5340760" y="3348148"/>
            <a:ext cx="5035273" cy="3017936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3F62CA4D-76E8-40A8-8B75-1BAFFD1CBEF8}"/>
              </a:ext>
            </a:extLst>
          </p:cNvPr>
          <p:cNvSpPr/>
          <p:nvPr/>
        </p:nvSpPr>
        <p:spPr>
          <a:xfrm>
            <a:off x="6872438" y="5707781"/>
            <a:ext cx="1645920" cy="472045"/>
          </a:xfrm>
          <a:prstGeom prst="wedgeRectCallout">
            <a:avLst>
              <a:gd name="adj1" fmla="val -69956"/>
              <a:gd name="adj2" fmla="val -53726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label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62A539B1-1E87-4D47-A3A7-D9CB5D7C7008}"/>
              </a:ext>
            </a:extLst>
          </p:cNvPr>
          <p:cNvSpPr/>
          <p:nvPr/>
        </p:nvSpPr>
        <p:spPr>
          <a:xfrm>
            <a:off x="7695398" y="4566743"/>
            <a:ext cx="1645920" cy="472045"/>
          </a:xfrm>
          <a:prstGeom prst="wedgeRectCallout">
            <a:avLst>
              <a:gd name="adj1" fmla="val -69956"/>
              <a:gd name="adj2" fmla="val -53726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Group(s)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2F874120-104F-473B-95EA-B7F59E10E6AE}"/>
              </a:ext>
            </a:extLst>
          </p:cNvPr>
          <p:cNvSpPr/>
          <p:nvPr/>
        </p:nvSpPr>
        <p:spPr>
          <a:xfrm>
            <a:off x="9955731" y="4091334"/>
            <a:ext cx="1645920" cy="472045"/>
          </a:xfrm>
          <a:prstGeom prst="wedgeRectCallout">
            <a:avLst>
              <a:gd name="adj1" fmla="val -41301"/>
              <a:gd name="adj2" fmla="val -12305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category</a:t>
            </a:r>
          </a:p>
        </p:txBody>
      </p:sp>
    </p:spTree>
    <p:extLst>
      <p:ext uri="{BB962C8B-B14F-4D97-AF65-F5344CB8AC3E}">
        <p14:creationId xmlns:p14="http://schemas.microsoft.com/office/powerpoint/2010/main" val="14437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get.design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4850001" cy="4572000"/>
          </a:xfrm>
        </p:spPr>
        <p:txBody>
          <a:bodyPr/>
          <a:lstStyle/>
          <a:p>
            <a:r>
              <a:rPr lang="en-GB" dirty="0"/>
              <a:t>Properties</a:t>
            </a:r>
          </a:p>
          <a:p>
            <a:pPr lvl="1"/>
            <a:r>
              <a:rPr lang="en-GB" dirty="0"/>
              <a:t>An array of input/output values</a:t>
            </a:r>
          </a:p>
          <a:p>
            <a:pPr lvl="1"/>
            <a:r>
              <a:rPr lang="en-GB" dirty="0"/>
              <a:t>Various types supported</a:t>
            </a:r>
          </a:p>
          <a:p>
            <a:pPr lvl="2"/>
            <a:r>
              <a:rPr lang="en-GB" dirty="0"/>
              <a:t>String, Boolean, Number</a:t>
            </a:r>
          </a:p>
          <a:p>
            <a:pPr lvl="2"/>
            <a:r>
              <a:rPr lang="en-GB" dirty="0" err="1"/>
              <a:t>Infotable</a:t>
            </a:r>
            <a:r>
              <a:rPr lang="en-GB" dirty="0"/>
              <a:t> (json array)</a:t>
            </a:r>
          </a:p>
          <a:p>
            <a:pPr lvl="2"/>
            <a:r>
              <a:rPr lang="en-GB" dirty="0"/>
              <a:t>Select (choice)</a:t>
            </a:r>
          </a:p>
          <a:p>
            <a:pPr lvl="1"/>
            <a:r>
              <a:rPr lang="en-GB" dirty="0"/>
              <a:t>Can be </a:t>
            </a:r>
            <a:r>
              <a:rPr lang="en-GB" dirty="0" err="1"/>
              <a:t>bindingTarget</a:t>
            </a:r>
            <a:r>
              <a:rPr lang="en-GB" dirty="0"/>
              <a:t> (input)</a:t>
            </a:r>
          </a:p>
          <a:p>
            <a:pPr lvl="1"/>
            <a:r>
              <a:rPr lang="en-GB" dirty="0"/>
              <a:t>Can be </a:t>
            </a:r>
            <a:r>
              <a:rPr lang="en-GB" dirty="0" err="1"/>
              <a:t>bindingSource</a:t>
            </a:r>
            <a:r>
              <a:rPr lang="en-GB" dirty="0"/>
              <a:t> (output)</a:t>
            </a:r>
          </a:p>
          <a:p>
            <a:pPr lvl="1"/>
            <a:r>
              <a:rPr lang="en-GB" dirty="0"/>
              <a:t>Can be both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C147CD-3BDF-4A7D-88C2-BB7C7D09A6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6371" y="259739"/>
            <a:ext cx="2486372" cy="41439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520D2E0-226A-4CC1-BBCC-53C02C9561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681" y="316148"/>
            <a:ext cx="2724530" cy="4877481"/>
          </a:xfrm>
          <a:prstGeom prst="rect">
            <a:avLst/>
          </a:prstGeom>
        </p:spPr>
      </p:pic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2F874120-104F-473B-95EA-B7F59E10E6AE}"/>
              </a:ext>
            </a:extLst>
          </p:cNvPr>
          <p:cNvSpPr/>
          <p:nvPr/>
        </p:nvSpPr>
        <p:spPr>
          <a:xfrm>
            <a:off x="9306371" y="3429000"/>
            <a:ext cx="1645920" cy="472045"/>
          </a:xfrm>
          <a:prstGeom prst="wedgeRectCallout">
            <a:avLst>
              <a:gd name="adj1" fmla="val -41301"/>
              <a:gd name="adj2" fmla="val -123054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200" dirty="0" err="1">
                <a:solidFill>
                  <a:schemeClr val="bg1"/>
                </a:solidFill>
              </a:rPr>
              <a:t>BindingSource</a:t>
            </a:r>
            <a:r>
              <a:rPr lang="en-GB" sz="1200" dirty="0">
                <a:solidFill>
                  <a:schemeClr val="bg1"/>
                </a:solidFill>
              </a:rPr>
              <a:t>=true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B5A6045-ADCD-4FE3-95EB-330FA3B3BB6E}"/>
              </a:ext>
            </a:extLst>
          </p:cNvPr>
          <p:cNvSpPr/>
          <p:nvPr/>
        </p:nvSpPr>
        <p:spPr>
          <a:xfrm>
            <a:off x="9890792" y="678174"/>
            <a:ext cx="1645920" cy="472045"/>
          </a:xfrm>
          <a:prstGeom prst="wedgeRectCallout">
            <a:avLst>
              <a:gd name="adj1" fmla="val -60014"/>
              <a:gd name="adj2" fmla="val 46188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200" dirty="0" err="1">
                <a:solidFill>
                  <a:schemeClr val="bg1"/>
                </a:solidFill>
              </a:rPr>
              <a:t>BindingTarget</a:t>
            </a:r>
            <a:r>
              <a:rPr lang="en-GB" sz="1200" dirty="0">
                <a:solidFill>
                  <a:schemeClr val="bg1"/>
                </a:solidFill>
              </a:rPr>
              <a:t>=true</a:t>
            </a:r>
          </a:p>
        </p:txBody>
      </p:sp>
    </p:spTree>
    <p:extLst>
      <p:ext uri="{BB962C8B-B14F-4D97-AF65-F5344CB8AC3E}">
        <p14:creationId xmlns:p14="http://schemas.microsoft.com/office/powerpoint/2010/main" val="408683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get.design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4850001" cy="4572000"/>
          </a:xfrm>
        </p:spPr>
        <p:txBody>
          <a:bodyPr/>
          <a:lstStyle/>
          <a:p>
            <a:r>
              <a:rPr lang="en-GB" dirty="0"/>
              <a:t>Services</a:t>
            </a:r>
          </a:p>
          <a:p>
            <a:pPr lvl="1"/>
            <a:r>
              <a:rPr lang="en-GB" dirty="0"/>
              <a:t>These are capabilities (functions)</a:t>
            </a:r>
          </a:p>
          <a:p>
            <a:pPr lvl="1"/>
            <a:r>
              <a:rPr lang="en-GB" dirty="0"/>
              <a:t>You trigger it via an event</a:t>
            </a:r>
          </a:p>
          <a:p>
            <a:pPr lvl="1"/>
            <a:r>
              <a:rPr lang="en-GB" dirty="0"/>
              <a:t>Perform an operation, change state, change outputs</a:t>
            </a:r>
          </a:p>
          <a:p>
            <a:r>
              <a:rPr lang="en-GB" dirty="0"/>
              <a:t>Events</a:t>
            </a:r>
          </a:p>
          <a:p>
            <a:pPr lvl="1"/>
            <a:r>
              <a:rPr lang="en-GB" dirty="0"/>
              <a:t>Emitted when “something” happens</a:t>
            </a:r>
          </a:p>
          <a:p>
            <a:pPr lvl="1"/>
            <a:r>
              <a:rPr lang="en-GB" dirty="0"/>
              <a:t>Can be bound to (input) triggers on other widgets</a:t>
            </a:r>
          </a:p>
          <a:p>
            <a:pPr lvl="1"/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C4AA4A-1485-46B0-B07A-483C785D6E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4813"/>
          <a:stretch/>
        </p:blipFill>
        <p:spPr>
          <a:xfrm>
            <a:off x="5885720" y="1709928"/>
            <a:ext cx="6126586" cy="33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9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get.design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48976"/>
            <a:ext cx="5179914" cy="4572000"/>
          </a:xfrm>
        </p:spPr>
        <p:txBody>
          <a:bodyPr/>
          <a:lstStyle/>
          <a:p>
            <a:r>
              <a:rPr lang="en-GB" dirty="0" err="1"/>
              <a:t>designTemplate</a:t>
            </a:r>
            <a:endParaRPr lang="en-GB" dirty="0"/>
          </a:p>
          <a:p>
            <a:pPr lvl="1"/>
            <a:r>
              <a:rPr lang="en-GB" dirty="0"/>
              <a:t>What appears in the editor canvas</a:t>
            </a:r>
          </a:p>
          <a:p>
            <a:pPr lvl="1"/>
            <a:r>
              <a:rPr lang="en-GB" dirty="0"/>
              <a:t>Can include edit-time controls, display information etc.</a:t>
            </a:r>
          </a:p>
          <a:p>
            <a:pPr marL="365760" lvl="1" indent="0">
              <a:buNone/>
            </a:pPr>
            <a:endParaRPr lang="en-GB" dirty="0"/>
          </a:p>
          <a:p>
            <a:r>
              <a:rPr lang="en-GB" dirty="0" err="1"/>
              <a:t>runtimeTemplate</a:t>
            </a:r>
            <a:endParaRPr lang="en-GB" dirty="0"/>
          </a:p>
          <a:p>
            <a:pPr lvl="1"/>
            <a:r>
              <a:rPr lang="en-GB" dirty="0"/>
              <a:t>What appears at runtime</a:t>
            </a:r>
          </a:p>
          <a:p>
            <a:pPr lvl="1"/>
            <a:r>
              <a:rPr lang="en-GB" dirty="0"/>
              <a:t>Can have visual presence (html)</a:t>
            </a:r>
          </a:p>
          <a:p>
            <a:pPr lvl="1"/>
            <a:r>
              <a:rPr lang="en-GB" dirty="0"/>
              <a:t>Can drive TML etc.</a:t>
            </a:r>
          </a:p>
          <a:p>
            <a:r>
              <a:rPr lang="en-GB" dirty="0"/>
              <a:t>Parameters are attributes</a:t>
            </a:r>
          </a:p>
          <a:p>
            <a:pPr lvl="1"/>
            <a:r>
              <a:rPr lang="en-GB" dirty="0"/>
              <a:t>Semantics are important</a:t>
            </a:r>
          </a:p>
          <a:p>
            <a:pPr lvl="2"/>
            <a:r>
              <a:rPr lang="en-GB" dirty="0"/>
              <a:t>xxx-field =&gt; </a:t>
            </a:r>
            <a:r>
              <a:rPr lang="en-GB" dirty="0" err="1"/>
              <a:t>xxxField</a:t>
            </a:r>
            <a:endParaRPr lang="en-GB" dirty="0"/>
          </a:p>
          <a:p>
            <a:pPr lvl="2"/>
            <a:r>
              <a:rPr lang="en-GB" dirty="0"/>
              <a:t>{{</a:t>
            </a:r>
            <a:r>
              <a:rPr lang="en-GB" dirty="0" err="1"/>
              <a:t>me.varName</a:t>
            </a:r>
            <a:r>
              <a:rPr lang="en-GB" dirty="0"/>
              <a:t>}} will track changes</a:t>
            </a:r>
          </a:p>
          <a:p>
            <a:pPr lvl="2"/>
            <a:r>
              <a:rPr lang="en-GB" dirty="0"/>
              <a:t>“</a:t>
            </a:r>
            <a:r>
              <a:rPr lang="en-GB" dirty="0" err="1"/>
              <a:t>me.anotherVar</a:t>
            </a:r>
            <a:r>
              <a:rPr lang="en-GB" dirty="0"/>
              <a:t>” is two way                   </a:t>
            </a:r>
          </a:p>
          <a:p>
            <a:pPr marL="365760" lvl="1" indent="0">
              <a:buNone/>
            </a:pPr>
            <a:endParaRPr lang="en-GB" dirty="0"/>
          </a:p>
          <a:p>
            <a:pPr lvl="1"/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5F9752-0FE7-4251-8379-F1166263BD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2134"/>
          <a:stretch/>
        </p:blipFill>
        <p:spPr>
          <a:xfrm>
            <a:off x="5996539" y="1176439"/>
            <a:ext cx="5867995" cy="303038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529AA00-2782-4972-9307-A2B9658694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1151" y="4670678"/>
            <a:ext cx="5903578" cy="1386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95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get.design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37883"/>
            <a:ext cx="5179914" cy="4572000"/>
          </a:xfrm>
        </p:spPr>
        <p:txBody>
          <a:bodyPr/>
          <a:lstStyle/>
          <a:p>
            <a:r>
              <a:rPr lang="en-GB" dirty="0"/>
              <a:t>Dependencies</a:t>
            </a:r>
          </a:p>
          <a:p>
            <a:pPr lvl="1"/>
            <a:r>
              <a:rPr lang="en-GB" dirty="0"/>
              <a:t>Declare stuff that is needed</a:t>
            </a:r>
          </a:p>
          <a:p>
            <a:pPr lvl="1"/>
            <a:r>
              <a:rPr lang="en-GB" dirty="0"/>
              <a:t>Files</a:t>
            </a:r>
          </a:p>
          <a:p>
            <a:pPr lvl="2"/>
            <a:r>
              <a:rPr lang="en-GB" dirty="0"/>
              <a:t>Any code, images, assets needed at runtime</a:t>
            </a:r>
          </a:p>
          <a:p>
            <a:pPr lvl="1"/>
            <a:r>
              <a:rPr lang="en-GB" dirty="0"/>
              <a:t>Angular modules</a:t>
            </a:r>
          </a:p>
          <a:p>
            <a:pPr lvl="2"/>
            <a:r>
              <a:rPr lang="en-GB" dirty="0"/>
              <a:t>Ids of the modules needed to operate</a:t>
            </a:r>
          </a:p>
          <a:p>
            <a:pPr lvl="1"/>
            <a:endParaRPr lang="en-GB" dirty="0"/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7D857731-7AEF-4272-AF72-1DA01E934F07}"/>
              </a:ext>
            </a:extLst>
          </p:cNvPr>
          <p:cNvSpPr/>
          <p:nvPr/>
        </p:nvSpPr>
        <p:spPr>
          <a:xfrm>
            <a:off x="2308805" y="5809883"/>
            <a:ext cx="2099566" cy="472045"/>
          </a:xfrm>
          <a:prstGeom prst="wedgeRectCallout">
            <a:avLst>
              <a:gd name="adj1" fmla="val -27548"/>
              <a:gd name="adj2" fmla="val -11081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200" dirty="0">
                <a:solidFill>
                  <a:schemeClr val="bg1"/>
                </a:solidFill>
              </a:rPr>
              <a:t>At runtime, invoke this…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8F09DAC-80AC-4FB9-949D-97CC92A32B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1226" y="1478922"/>
            <a:ext cx="6077434" cy="1283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5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9DE1AE-66EA-46B0-B668-A4DE177C7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5399" y="1047506"/>
            <a:ext cx="5776955" cy="198121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orgmywidget-ng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59" y="1152937"/>
            <a:ext cx="6001481" cy="2245115"/>
          </a:xfrm>
        </p:spPr>
        <p:txBody>
          <a:bodyPr/>
          <a:lstStyle/>
          <a:p>
            <a:r>
              <a:rPr lang="en-GB" dirty="0"/>
              <a:t>Angular controller</a:t>
            </a:r>
          </a:p>
          <a:p>
            <a:pPr lvl="1"/>
            <a:r>
              <a:rPr lang="en-GB" dirty="0"/>
              <a:t>Instanced for each &lt;div ng-controller</a:t>
            </a:r>
          </a:p>
          <a:p>
            <a:pPr lvl="1"/>
            <a:r>
              <a:rPr lang="en-GB" dirty="0"/>
              <a:t>“listen” to changes in inputs</a:t>
            </a:r>
          </a:p>
          <a:p>
            <a:pPr lvl="1"/>
            <a:r>
              <a:rPr lang="en-GB" dirty="0"/>
              <a:t>Process and apply changes to outputs</a:t>
            </a:r>
          </a:p>
          <a:p>
            <a:r>
              <a:rPr lang="en-GB" dirty="0"/>
              <a:t>Important piece to get right</a:t>
            </a:r>
          </a:p>
          <a:p>
            <a:pPr lvl="1"/>
            <a:r>
              <a:rPr lang="en-GB" dirty="0"/>
              <a:t>Declaration says</a:t>
            </a:r>
          </a:p>
          <a:p>
            <a:pPr lvl="2"/>
            <a:r>
              <a:rPr lang="en-GB" dirty="0"/>
              <a:t>ng-</a:t>
            </a:r>
            <a:r>
              <a:rPr lang="en-GB" dirty="0" err="1"/>
              <a:t>myorgmywidget</a:t>
            </a:r>
            <a:endParaRPr lang="en-GB" dirty="0"/>
          </a:p>
          <a:p>
            <a:pPr lvl="2"/>
            <a:r>
              <a:rPr lang="en-GB" dirty="0"/>
              <a:t>Case doesn’t matter in html</a:t>
            </a:r>
          </a:p>
          <a:p>
            <a:pPr lvl="1"/>
            <a:r>
              <a:rPr lang="en-GB" dirty="0"/>
              <a:t>Controller looks for </a:t>
            </a:r>
            <a:r>
              <a:rPr lang="en-GB" dirty="0" err="1"/>
              <a:t>ngMyorgmywidget</a:t>
            </a:r>
            <a:endParaRPr lang="en-GB" dirty="0"/>
          </a:p>
          <a:p>
            <a:pPr lvl="2"/>
            <a:r>
              <a:rPr lang="en-GB" dirty="0"/>
              <a:t>ng-</a:t>
            </a:r>
            <a:r>
              <a:rPr lang="en-GB" dirty="0" err="1"/>
              <a:t>xyz</a:t>
            </a:r>
            <a:r>
              <a:rPr lang="en-GB" dirty="0"/>
              <a:t> has the –x interpreted to be X (capital)</a:t>
            </a:r>
          </a:p>
          <a:p>
            <a:pPr lvl="2"/>
            <a:r>
              <a:rPr lang="en-GB" dirty="0"/>
              <a:t>ng-</a:t>
            </a:r>
            <a:r>
              <a:rPr lang="en-GB" dirty="0" err="1"/>
              <a:t>xyz</a:t>
            </a:r>
            <a:r>
              <a:rPr lang="en-GB" dirty="0"/>
              <a:t> -&gt; </a:t>
            </a:r>
            <a:r>
              <a:rPr lang="en-GB" dirty="0" err="1"/>
              <a:t>ngXyz</a:t>
            </a:r>
            <a:endParaRPr lang="en-GB" dirty="0"/>
          </a:p>
          <a:p>
            <a:pPr lvl="1"/>
            <a:r>
              <a:rPr lang="en-GB" dirty="0"/>
              <a:t>Take care when naming</a:t>
            </a:r>
          </a:p>
          <a:p>
            <a:r>
              <a:rPr lang="en-GB" dirty="0"/>
              <a:t>Directive can request other angular services e.g. $timeout, $http, $window</a:t>
            </a:r>
          </a:p>
          <a:p>
            <a:pPr lvl="1"/>
            <a:r>
              <a:rPr lang="en-GB" dirty="0"/>
              <a:t>Use $window to get </a:t>
            </a:r>
            <a:r>
              <a:rPr lang="en-GB" dirty="0" err="1"/>
              <a:t>tmlRenderer</a:t>
            </a:r>
            <a:endParaRPr lang="en-GB" dirty="0"/>
          </a:p>
          <a:p>
            <a:pPr lvl="1"/>
            <a:r>
              <a:rPr lang="en-GB" dirty="0"/>
              <a:t>Use $injector to get </a:t>
            </a:r>
            <a:r>
              <a:rPr lang="en-GB" dirty="0" err="1"/>
              <a:t>thingworx</a:t>
            </a:r>
            <a:r>
              <a:rPr lang="en-GB" dirty="0"/>
              <a:t> connector</a:t>
            </a:r>
          </a:p>
          <a:p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7D857731-7AEF-4272-AF72-1DA01E934F07}"/>
              </a:ext>
            </a:extLst>
          </p:cNvPr>
          <p:cNvSpPr/>
          <p:nvPr/>
        </p:nvSpPr>
        <p:spPr>
          <a:xfrm>
            <a:off x="9600392" y="4339006"/>
            <a:ext cx="2099566" cy="472045"/>
          </a:xfrm>
          <a:prstGeom prst="wedgeRectCallout">
            <a:avLst>
              <a:gd name="adj1" fmla="val -71763"/>
              <a:gd name="adj2" fmla="val -48054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200" dirty="0">
                <a:solidFill>
                  <a:schemeClr val="bg1"/>
                </a:solidFill>
              </a:rPr>
              <a:t>Case is important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37BD6-C0BA-47E4-96EC-D6BF30CABB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7325" r="58855"/>
          <a:stretch/>
        </p:blipFill>
        <p:spPr>
          <a:xfrm>
            <a:off x="5791536" y="3134151"/>
            <a:ext cx="3557645" cy="990179"/>
          </a:xfrm>
          <a:prstGeom prst="rect">
            <a:avLst/>
          </a:prstGeom>
        </p:spPr>
      </p:pic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C77CE695-99A6-460E-83A6-6B3A9B666269}"/>
              </a:ext>
            </a:extLst>
          </p:cNvPr>
          <p:cNvSpPr/>
          <p:nvPr/>
        </p:nvSpPr>
        <p:spPr>
          <a:xfrm>
            <a:off x="9249675" y="360642"/>
            <a:ext cx="2099566" cy="472045"/>
          </a:xfrm>
          <a:prstGeom prst="wedgeRectCallout">
            <a:avLst>
              <a:gd name="adj1" fmla="val 3182"/>
              <a:gd name="adj2" fmla="val 364115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200" dirty="0">
                <a:solidFill>
                  <a:schemeClr val="bg1"/>
                </a:solidFill>
              </a:rPr>
              <a:t>Request Other servic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43ED4CE-DCEB-492E-92C0-CBEA6032BB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6774" y="5025726"/>
            <a:ext cx="5025802" cy="168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18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orgmywidget-ng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59" y="1319651"/>
            <a:ext cx="5396419" cy="2245115"/>
          </a:xfrm>
        </p:spPr>
        <p:txBody>
          <a:bodyPr/>
          <a:lstStyle/>
          <a:p>
            <a:r>
              <a:rPr lang="en-GB" dirty="0"/>
              <a:t>Angular controller</a:t>
            </a:r>
          </a:p>
          <a:p>
            <a:pPr lvl="1"/>
            <a:r>
              <a:rPr lang="en-GB" dirty="0"/>
              <a:t>Attributes etc. are passed ‘scope</a:t>
            </a:r>
          </a:p>
          <a:p>
            <a:pPr lvl="1"/>
            <a:r>
              <a:rPr lang="en-GB" dirty="0"/>
              <a:t>If declaration says xxx-something</a:t>
            </a:r>
          </a:p>
          <a:p>
            <a:pPr lvl="2"/>
            <a:r>
              <a:rPr lang="en-GB" dirty="0"/>
              <a:t>Input (scope) is </a:t>
            </a:r>
            <a:r>
              <a:rPr lang="en-GB" dirty="0" err="1"/>
              <a:t>xxxSomething</a:t>
            </a:r>
            <a:endParaRPr lang="en-GB" dirty="0"/>
          </a:p>
          <a:p>
            <a:pPr lvl="2"/>
            <a:r>
              <a:rPr lang="en-GB" dirty="0"/>
              <a:t>Input-field1 -&gt; inputField1</a:t>
            </a:r>
          </a:p>
          <a:p>
            <a:pPr lvl="1"/>
            <a:r>
              <a:rPr lang="en-GB" dirty="0"/>
              <a:t>Field types</a:t>
            </a:r>
          </a:p>
          <a:p>
            <a:pPr lvl="2"/>
            <a:r>
              <a:rPr lang="en-GB" dirty="0" err="1"/>
              <a:t>xxxField</a:t>
            </a:r>
            <a:r>
              <a:rPr lang="en-GB" dirty="0"/>
              <a:t>: ‘@’ declares this as an input</a:t>
            </a:r>
          </a:p>
          <a:p>
            <a:pPr lvl="2"/>
            <a:r>
              <a:rPr lang="en-GB" dirty="0" err="1"/>
              <a:t>xxxField</a:t>
            </a:r>
            <a:r>
              <a:rPr lang="en-GB" dirty="0"/>
              <a:t>: ‘=‘ declares this as input/output</a:t>
            </a:r>
          </a:p>
          <a:p>
            <a:pPr lvl="1"/>
            <a:r>
              <a:rPr lang="en-GB" dirty="0"/>
              <a:t>“Link” is called when a declaration is made in the html page</a:t>
            </a:r>
          </a:p>
          <a:p>
            <a:pPr lvl="2"/>
            <a:r>
              <a:rPr lang="en-GB" dirty="0"/>
              <a:t>This is where you setup your services …</a:t>
            </a:r>
          </a:p>
          <a:p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70329F-81D5-4B25-AB2F-BE51E58BE3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7241"/>
          <a:stretch/>
        </p:blipFill>
        <p:spPr>
          <a:xfrm>
            <a:off x="8057311" y="1203602"/>
            <a:ext cx="3114658" cy="138664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AE84F54-7592-4ED9-9813-A0B4A5C0E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3082" y="3378382"/>
            <a:ext cx="3929091" cy="197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03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 dirty="0"/>
              <a:t>Myorgmywidget-ng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59" y="1319651"/>
            <a:ext cx="5605241" cy="2245115"/>
          </a:xfrm>
        </p:spPr>
        <p:txBody>
          <a:bodyPr/>
          <a:lstStyle/>
          <a:p>
            <a:r>
              <a:rPr lang="en-GB" dirty="0"/>
              <a:t>Setting up services</a:t>
            </a:r>
          </a:p>
          <a:p>
            <a:pPr lvl="1"/>
            <a:r>
              <a:rPr lang="en-GB" dirty="0"/>
              <a:t>Use Angular $watch to observe changes</a:t>
            </a:r>
          </a:p>
          <a:p>
            <a:pPr lvl="1"/>
            <a:r>
              <a:rPr lang="en-GB" dirty="0"/>
              <a:t>Delegate parameter accepts methods</a:t>
            </a:r>
          </a:p>
          <a:p>
            <a:pPr lvl="2"/>
            <a:r>
              <a:rPr lang="en-GB" dirty="0" err="1"/>
              <a:t>Delegate.doSomething</a:t>
            </a:r>
            <a:r>
              <a:rPr lang="en-GB" dirty="0"/>
              <a:t> = function() …</a:t>
            </a:r>
          </a:p>
          <a:p>
            <a:pPr lvl="2"/>
            <a:r>
              <a:rPr lang="en-GB" dirty="0" err="1"/>
              <a:t>doSomething</a:t>
            </a:r>
            <a:r>
              <a:rPr lang="en-GB" dirty="0"/>
              <a:t> matches the widget 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Listen for events</a:t>
            </a:r>
          </a:p>
          <a:p>
            <a:pPr lvl="1"/>
            <a:r>
              <a:rPr lang="en-GB" dirty="0"/>
              <a:t>Use Angular $on to listen for events</a:t>
            </a:r>
          </a:p>
          <a:p>
            <a:pPr lvl="1"/>
            <a:r>
              <a:rPr lang="en-GB" dirty="0"/>
              <a:t>Return value is a function to unregister</a:t>
            </a:r>
          </a:p>
          <a:p>
            <a:pPr lvl="2"/>
            <a:r>
              <a:rPr lang="en-GB" dirty="0"/>
              <a:t>Call this when view terminates</a:t>
            </a:r>
          </a:p>
          <a:p>
            <a:pPr lvl="1"/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D84E54-1F4B-488B-8AD2-F83A9B36B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6238" y="2173626"/>
            <a:ext cx="5176875" cy="15335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705CC9-4D2B-448B-ABFF-2E9B8281555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852" r="51063" b="59276"/>
          <a:stretch/>
        </p:blipFill>
        <p:spPr>
          <a:xfrm>
            <a:off x="7733207" y="325283"/>
            <a:ext cx="3987600" cy="1444445"/>
          </a:xfrm>
          <a:prstGeom prst="rect">
            <a:avLst/>
          </a:prstGeom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E2893D9B-0611-47EB-9062-22F9137BBA77}"/>
              </a:ext>
            </a:extLst>
          </p:cNvPr>
          <p:cNvSpPr/>
          <p:nvPr/>
        </p:nvSpPr>
        <p:spPr>
          <a:xfrm>
            <a:off x="6096000" y="371850"/>
            <a:ext cx="1442871" cy="612648"/>
          </a:xfrm>
          <a:prstGeom prst="wedgeRectCallout">
            <a:avLst>
              <a:gd name="adj1" fmla="val 133986"/>
              <a:gd name="adj2" fmla="val 66507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Widget definition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99E050B-8FFE-4893-A597-B3A09B600A0C}"/>
              </a:ext>
            </a:extLst>
          </p:cNvPr>
          <p:cNvSpPr/>
          <p:nvPr/>
        </p:nvSpPr>
        <p:spPr>
          <a:xfrm>
            <a:off x="4228334" y="2940394"/>
            <a:ext cx="2067786" cy="612648"/>
          </a:xfrm>
          <a:prstGeom prst="wedgeRectCallout">
            <a:avLst>
              <a:gd name="adj1" fmla="val 99856"/>
              <a:gd name="adj2" fmla="val -91762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2000" dirty="0">
                <a:solidFill>
                  <a:schemeClr val="bg1"/>
                </a:solidFill>
              </a:rPr>
              <a:t>controller implement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1FB6AD-101C-4C94-AEA5-0B626F12AA7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8944"/>
          <a:stretch/>
        </p:blipFill>
        <p:spPr>
          <a:xfrm>
            <a:off x="5885720" y="4646862"/>
            <a:ext cx="6032165" cy="136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58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orgmywidget-ng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59" y="1319651"/>
            <a:ext cx="5971410" cy="2245115"/>
          </a:xfrm>
        </p:spPr>
        <p:txBody>
          <a:bodyPr/>
          <a:lstStyle/>
          <a:p>
            <a:r>
              <a:rPr lang="en-GB" dirty="0"/>
              <a:t>Lifecyle</a:t>
            </a:r>
          </a:p>
          <a:p>
            <a:pPr lvl="1"/>
            <a:r>
              <a:rPr lang="en-GB" dirty="0"/>
              <a:t>Link function called on page initialisation</a:t>
            </a:r>
          </a:p>
          <a:p>
            <a:pPr lvl="1"/>
            <a:r>
              <a:rPr lang="en-GB" dirty="0"/>
              <a:t>Use ionic events to react to page begin/end</a:t>
            </a:r>
          </a:p>
          <a:p>
            <a:pPr lvl="2"/>
            <a:r>
              <a:rPr lang="en-GB" dirty="0" err="1"/>
              <a:t>ionicView.afterEnter</a:t>
            </a:r>
            <a:endParaRPr lang="en-GB" dirty="0"/>
          </a:p>
          <a:p>
            <a:pPr lvl="2"/>
            <a:r>
              <a:rPr lang="en-GB" dirty="0" err="1"/>
              <a:t>ionicView.beforeLeave</a:t>
            </a:r>
            <a:endParaRPr lang="en-GB" dirty="0"/>
          </a:p>
          <a:p>
            <a:pPr lvl="1"/>
            <a:r>
              <a:rPr lang="en-GB" dirty="0"/>
              <a:t>Remember to call </a:t>
            </a:r>
            <a:r>
              <a:rPr lang="en-GB" dirty="0" err="1"/>
              <a:t>deinit</a:t>
            </a:r>
            <a:r>
              <a:rPr lang="en-GB" dirty="0"/>
              <a:t> for event listeners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Widgets run in Angular digest loop</a:t>
            </a:r>
          </a:p>
          <a:p>
            <a:pPr lvl="2"/>
            <a:r>
              <a:rPr lang="en-GB" dirty="0"/>
              <a:t>If you </a:t>
            </a:r>
            <a:r>
              <a:rPr lang="en-GB" dirty="0" err="1"/>
              <a:t>dont</a:t>
            </a:r>
            <a:r>
              <a:rPr lang="en-GB" dirty="0"/>
              <a:t> see data (outputs) changing, call</a:t>
            </a:r>
          </a:p>
          <a:p>
            <a:pPr marL="365760" lvl="1" indent="0">
              <a:buNone/>
            </a:pPr>
            <a:endParaRPr lang="en-GB" dirty="0"/>
          </a:p>
          <a:p>
            <a:pPr marL="365760" lvl="1" indent="0">
              <a:buNone/>
            </a:pPr>
            <a:r>
              <a:rPr lang="en-GB" dirty="0"/>
              <a:t>	scope.$parent.$</a:t>
            </a:r>
            <a:r>
              <a:rPr lang="en-GB" dirty="0" err="1"/>
              <a:t>applyAsync</a:t>
            </a:r>
            <a:r>
              <a:rPr lang="en-GB" dirty="0"/>
              <a:t>()	</a:t>
            </a:r>
          </a:p>
          <a:p>
            <a:pPr marL="365760" lvl="1" indent="0">
              <a:buNone/>
            </a:pPr>
            <a:endParaRPr lang="en-GB" dirty="0"/>
          </a:p>
          <a:p>
            <a:pPr marL="365760" lvl="1" indent="0">
              <a:buNone/>
            </a:pPr>
            <a:r>
              <a:rPr lang="en-GB"/>
              <a:t>       to </a:t>
            </a:r>
            <a:r>
              <a:rPr lang="en-GB" dirty="0"/>
              <a:t>force the digest loop to re-evaluate</a:t>
            </a:r>
          </a:p>
          <a:p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0A60AA7-5492-405F-A162-4374C0881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3954" y="1547916"/>
            <a:ext cx="5157825" cy="23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60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24C77F-9381-49ED-AFDF-F0BC4B531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ex.j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89941AE4-C80F-4A74-B685-6E7B1C6CF8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37883"/>
            <a:ext cx="5179914" cy="4572000"/>
          </a:xfrm>
        </p:spPr>
        <p:txBody>
          <a:bodyPr/>
          <a:lstStyle/>
          <a:p>
            <a:r>
              <a:rPr lang="en-GB" dirty="0"/>
              <a:t>Exports</a:t>
            </a:r>
          </a:p>
          <a:p>
            <a:pPr lvl="1"/>
            <a:r>
              <a:rPr lang="en-GB" dirty="0"/>
              <a:t>List of angular modules used</a:t>
            </a:r>
          </a:p>
          <a:p>
            <a:pPr lvl="1"/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2D68C3-0960-4E14-866E-B2A22D170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2831" y="1047506"/>
            <a:ext cx="5237849" cy="2552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3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11887B1-77F5-805E-BD42-C5DA4543B8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64303"/>
            <a:ext cx="10789920" cy="4572000"/>
          </a:xfrm>
        </p:spPr>
        <p:txBody>
          <a:bodyPr/>
          <a:lstStyle/>
          <a:p>
            <a:r>
              <a:rPr lang="en-US" dirty="0"/>
              <a:t>Vuforia Studio extension mechanism is</a:t>
            </a:r>
          </a:p>
          <a:p>
            <a:pPr lvl="1"/>
            <a:r>
              <a:rPr lang="en-US" dirty="0"/>
              <a:t>Undocumented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everything you learn/read here has been gathered and collated following many years of reverse engineering, experimentation, trial and error </a:t>
            </a:r>
          </a:p>
          <a:p>
            <a:pPr lvl="2"/>
            <a:r>
              <a:rPr lang="en-US" dirty="0"/>
              <a:t>there are many things that I do not know (have not needed to find out yet) </a:t>
            </a:r>
          </a:p>
          <a:p>
            <a:pPr marL="365760" lvl="1" indent="0">
              <a:buNone/>
            </a:pPr>
            <a:endParaRPr lang="en-US" dirty="0"/>
          </a:p>
          <a:p>
            <a:pPr lvl="1"/>
            <a:r>
              <a:rPr lang="en-US" dirty="0"/>
              <a:t>Unfinished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ere are many gaps, there are things that don’t work</a:t>
            </a:r>
          </a:p>
          <a:p>
            <a:pPr lvl="2"/>
            <a:r>
              <a:rPr lang="en-US" dirty="0"/>
              <a:t>with imagination, many ‘gaps’ can be skipped</a:t>
            </a:r>
          </a:p>
          <a:p>
            <a:pPr marL="658368" lvl="2" indent="0">
              <a:buNone/>
            </a:pPr>
            <a:endParaRPr lang="en-US" dirty="0"/>
          </a:p>
          <a:p>
            <a:pPr lvl="1"/>
            <a:r>
              <a:rPr lang="en-US" dirty="0"/>
              <a:t>Unsupported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things break – product team do not support this, will not answer questions</a:t>
            </a:r>
          </a:p>
          <a:p>
            <a:pPr lvl="2"/>
            <a:r>
              <a:rPr lang="en-US" dirty="0"/>
              <a:t>debugging is manual (chrome debugger is your best friend)</a:t>
            </a:r>
          </a:p>
          <a:p>
            <a:pPr marL="658368" lvl="2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800BB9-77B3-F392-C841-2D7A6C6EA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information</a:t>
            </a:r>
          </a:p>
        </p:txBody>
      </p:sp>
    </p:spTree>
    <p:extLst>
      <p:ext uri="{BB962C8B-B14F-4D97-AF65-F5344CB8AC3E}">
        <p14:creationId xmlns:p14="http://schemas.microsoft.com/office/powerpoint/2010/main" val="284735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E06A76D-0BC5-4D18-8ECE-5CA0F21FC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aming / capitalisation is important</a:t>
            </a:r>
          </a:p>
          <a:p>
            <a:pPr lvl="1"/>
            <a:r>
              <a:rPr lang="en-GB" dirty="0"/>
              <a:t>Check the ng-name / </a:t>
            </a:r>
            <a:r>
              <a:rPr lang="en-GB" dirty="0" err="1"/>
              <a:t>ngName</a:t>
            </a:r>
            <a:r>
              <a:rPr lang="en-GB" dirty="0"/>
              <a:t> is correct</a:t>
            </a:r>
          </a:p>
          <a:p>
            <a:pPr lvl="1"/>
            <a:r>
              <a:rPr lang="en-GB" dirty="0"/>
              <a:t>Same for fields xxx-field / </a:t>
            </a:r>
            <a:r>
              <a:rPr lang="en-GB" dirty="0" err="1"/>
              <a:t>xxxField</a:t>
            </a:r>
            <a:endParaRPr lang="en-GB" dirty="0"/>
          </a:p>
          <a:p>
            <a:r>
              <a:rPr lang="en-GB" dirty="0"/>
              <a:t>Be sure to clean up (</a:t>
            </a:r>
            <a:r>
              <a:rPr lang="en-GB" dirty="0" err="1"/>
              <a:t>beforeLeave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Very important for system events e.g. </a:t>
            </a:r>
            <a:r>
              <a:rPr lang="en-GB" dirty="0" err="1"/>
              <a:t>userpick</a:t>
            </a:r>
            <a:r>
              <a:rPr lang="en-GB" dirty="0"/>
              <a:t> </a:t>
            </a:r>
            <a:r>
              <a:rPr lang="en-GB" dirty="0" err="1"/>
              <a:t>ect</a:t>
            </a:r>
            <a:r>
              <a:rPr lang="en-GB" dirty="0"/>
              <a:t>.</a:t>
            </a:r>
          </a:p>
          <a:p>
            <a:r>
              <a:rPr lang="en-GB" dirty="0"/>
              <a:t>Drag handlers in 3d editor don’t work</a:t>
            </a:r>
          </a:p>
          <a:p>
            <a:pPr lvl="1"/>
            <a:r>
              <a:rPr lang="en-GB" dirty="0"/>
              <a:t>Workaround = Position by hand</a:t>
            </a:r>
          </a:p>
          <a:p>
            <a:r>
              <a:rPr lang="en-GB" dirty="0"/>
              <a:t>There is no way, on drop, to identify what you were dropped on…</a:t>
            </a:r>
          </a:p>
          <a:p>
            <a:pPr lvl="1"/>
            <a:r>
              <a:rPr lang="en-GB" dirty="0"/>
              <a:t>Workaround = manual named references (see ‘affects’ field in Billboard widget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5893A0A-982D-437E-A52C-0BC3C2B2E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ings to watch out for</a:t>
            </a:r>
          </a:p>
        </p:txBody>
      </p:sp>
    </p:spTree>
    <p:extLst>
      <p:ext uri="{BB962C8B-B14F-4D97-AF65-F5344CB8AC3E}">
        <p14:creationId xmlns:p14="http://schemas.microsoft.com/office/powerpoint/2010/main" val="56157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799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21D86CF-E920-440C-B2A4-AF2886CD5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27A9A5-5C22-4A56-B7A7-D4401CCDEC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5" y="588737"/>
            <a:ext cx="7068498" cy="5680529"/>
          </a:xfrm>
        </p:spPr>
        <p:txBody>
          <a:bodyPr/>
          <a:lstStyle/>
          <a:p>
            <a:r>
              <a:rPr lang="en-GB" dirty="0"/>
              <a:t>Overview of Studio UX</a:t>
            </a:r>
          </a:p>
          <a:p>
            <a:pPr lvl="1"/>
            <a:r>
              <a:rPr lang="en-GB" dirty="0"/>
              <a:t>Widget concepts</a:t>
            </a:r>
          </a:p>
          <a:p>
            <a:r>
              <a:rPr lang="en-GB" dirty="0"/>
              <a:t>Anatomy of a widget</a:t>
            </a:r>
          </a:p>
          <a:p>
            <a:pPr lvl="1"/>
            <a:r>
              <a:rPr lang="en-GB" dirty="0"/>
              <a:t>What are the important pieces</a:t>
            </a:r>
          </a:p>
          <a:p>
            <a:r>
              <a:rPr lang="en-GB" dirty="0"/>
              <a:t>Widget 101 </a:t>
            </a:r>
          </a:p>
          <a:p>
            <a:pPr lvl="1"/>
            <a:r>
              <a:rPr lang="en-GB" dirty="0"/>
              <a:t>Something simple</a:t>
            </a:r>
          </a:p>
          <a:p>
            <a:r>
              <a:rPr lang="en-GB" dirty="0"/>
              <a:t>Homework</a:t>
            </a:r>
          </a:p>
          <a:p>
            <a:r>
              <a:rPr lang="en-GB" dirty="0"/>
              <a:t>-break</a:t>
            </a:r>
          </a:p>
          <a:p>
            <a:r>
              <a:rPr lang="en-GB" dirty="0"/>
              <a:t>Widget 201</a:t>
            </a:r>
          </a:p>
          <a:p>
            <a:pPr lvl="1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843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AC3733A-F23E-4F72-8215-55043C3DE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43000"/>
            <a:ext cx="10789920" cy="4572000"/>
          </a:xfrm>
        </p:spPr>
        <p:txBody>
          <a:bodyPr/>
          <a:lstStyle/>
          <a:p>
            <a:r>
              <a:rPr lang="en-GB" dirty="0"/>
              <a:t>Widgets perform specific functions</a:t>
            </a:r>
          </a:p>
          <a:p>
            <a:pPr lvl="1"/>
            <a:r>
              <a:rPr lang="en-GB" dirty="0"/>
              <a:t>Inputs can be static or dynamic</a:t>
            </a:r>
          </a:p>
          <a:p>
            <a:pPr lvl="2"/>
            <a:r>
              <a:rPr lang="en-GB" dirty="0"/>
              <a:t>Dynamic inputs can be “bound” to suppliers of data (outputs of other widgets)</a:t>
            </a:r>
          </a:p>
          <a:p>
            <a:pPr lvl="1"/>
            <a:r>
              <a:rPr lang="en-GB" dirty="0"/>
              <a:t>Same for outputs</a:t>
            </a:r>
          </a:p>
          <a:p>
            <a:pPr lvl="2"/>
            <a:r>
              <a:rPr lang="en-GB" dirty="0"/>
              <a:t>data outputs can be bound to others</a:t>
            </a:r>
          </a:p>
          <a:p>
            <a:pPr lvl="2"/>
            <a:r>
              <a:rPr lang="en-GB" dirty="0"/>
              <a:t>Widgets can also directly influence the scene (implicit output)</a:t>
            </a:r>
          </a:p>
          <a:p>
            <a:r>
              <a:rPr lang="en-GB" dirty="0"/>
              <a:t>A well designed widget will</a:t>
            </a:r>
          </a:p>
          <a:p>
            <a:pPr lvl="1"/>
            <a:r>
              <a:rPr lang="en-GB" dirty="0"/>
              <a:t>Do it’s specific task, and only that task</a:t>
            </a:r>
          </a:p>
          <a:p>
            <a:pPr lvl="1"/>
            <a:r>
              <a:rPr lang="en-GB" dirty="0"/>
              <a:t>Will provide sufficient granularity in data inputs – enough to get the task done</a:t>
            </a:r>
          </a:p>
          <a:p>
            <a:pPr lvl="1"/>
            <a:r>
              <a:rPr lang="en-GB" dirty="0"/>
              <a:t>(ideally) not offer too much flexibility i.e. simple to use</a:t>
            </a:r>
          </a:p>
          <a:p>
            <a:pPr lvl="1"/>
            <a:r>
              <a:rPr lang="en-GB" dirty="0"/>
              <a:t>Fit in well with other widgets that already exist</a:t>
            </a:r>
          </a:p>
          <a:p>
            <a:r>
              <a:rPr lang="en-GB" dirty="0"/>
              <a:t>Example</a:t>
            </a:r>
          </a:p>
          <a:p>
            <a:pPr lvl="1"/>
            <a:r>
              <a:rPr lang="en-GB" dirty="0"/>
              <a:t>OCTO Finder widget will ‘identify’ items that meet some search criteria</a:t>
            </a:r>
          </a:p>
          <a:p>
            <a:pPr lvl="2"/>
            <a:r>
              <a:rPr lang="en-GB" dirty="0"/>
              <a:t>It doesn’t try to list those items in some html display – there are widgets to do that</a:t>
            </a:r>
          </a:p>
          <a:p>
            <a:pPr lvl="2"/>
            <a:r>
              <a:rPr lang="en-GB" dirty="0"/>
              <a:t>It doesn’t try to highlight those items – there’s a different widget for that</a:t>
            </a:r>
          </a:p>
          <a:p>
            <a:pPr lvl="2"/>
            <a:r>
              <a:rPr lang="en-GB" dirty="0"/>
              <a:t>It is flexible as to what to include in the outputs so that other widget can ADD valu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2296B7-8CEB-4A92-81BB-D08465762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20707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F2C5A19-D2B2-4488-8BF3-19EC1413CA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oday we will cover</a:t>
            </a:r>
          </a:p>
          <a:p>
            <a:pPr lvl="1"/>
            <a:r>
              <a:rPr lang="en-GB" dirty="0"/>
              <a:t>Basic architecture of a widget</a:t>
            </a:r>
          </a:p>
          <a:p>
            <a:pPr lvl="2"/>
            <a:r>
              <a:rPr lang="en-GB" dirty="0"/>
              <a:t>Design</a:t>
            </a:r>
          </a:p>
          <a:p>
            <a:pPr lvl="2"/>
            <a:r>
              <a:rPr lang="en-GB" dirty="0"/>
              <a:t>Runtime</a:t>
            </a:r>
          </a:p>
          <a:p>
            <a:pPr lvl="1"/>
            <a:r>
              <a:rPr lang="en-GB" dirty="0"/>
              <a:t>Data input and output</a:t>
            </a:r>
          </a:p>
          <a:p>
            <a:pPr lvl="1"/>
            <a:r>
              <a:rPr lang="en-GB" dirty="0"/>
              <a:t>Handling changes to data</a:t>
            </a:r>
          </a:p>
          <a:p>
            <a:pPr lvl="1"/>
            <a:r>
              <a:rPr lang="en-GB" dirty="0"/>
              <a:t>Interacting with other widgets</a:t>
            </a:r>
          </a:p>
          <a:p>
            <a:pPr lvl="1"/>
            <a:endParaRPr lang="en-GB" dirty="0"/>
          </a:p>
          <a:p>
            <a:r>
              <a:rPr lang="en-GB" dirty="0"/>
              <a:t>We will not cover</a:t>
            </a:r>
          </a:p>
          <a:p>
            <a:pPr lvl="1"/>
            <a:r>
              <a:rPr lang="en-GB" dirty="0" err="1"/>
              <a:t>Javascript</a:t>
            </a:r>
            <a:r>
              <a:rPr lang="en-GB" dirty="0"/>
              <a:t> programming</a:t>
            </a:r>
          </a:p>
          <a:p>
            <a:pPr lvl="1"/>
            <a:r>
              <a:rPr lang="en-GB" dirty="0"/>
              <a:t>Specific HTML or TML (Thing </a:t>
            </a:r>
            <a:r>
              <a:rPr lang="en-GB" dirty="0" err="1"/>
              <a:t>Markup</a:t>
            </a:r>
            <a:r>
              <a:rPr lang="en-GB" dirty="0"/>
              <a:t>) programmin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B7BDCCC-1CDB-47B0-B1F3-486D689C9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59822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72E4C99-E38F-4BBB-AA35-4375288D8E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Vuforia Studio is an application builder – it declares a model which is ‘compiled’ into an experience = a web app</a:t>
            </a:r>
          </a:p>
          <a:p>
            <a:r>
              <a:rPr lang="en-GB" dirty="0"/>
              <a:t>Vuforia View (experience “player”) hosts web apps</a:t>
            </a:r>
          </a:p>
          <a:p>
            <a:pPr lvl="1"/>
            <a:r>
              <a:rPr lang="en-GB" dirty="0"/>
              <a:t>An experience is typically a web app (html, </a:t>
            </a:r>
            <a:r>
              <a:rPr lang="en-GB" dirty="0" err="1"/>
              <a:t>javascript</a:t>
            </a:r>
            <a:r>
              <a:rPr lang="en-GB" dirty="0"/>
              <a:t>) </a:t>
            </a:r>
          </a:p>
          <a:p>
            <a:pPr lvl="1"/>
            <a:r>
              <a:rPr lang="en-GB" dirty="0"/>
              <a:t>TML = a series of extensions to the HTML declarative model to support 3D/AR</a:t>
            </a:r>
          </a:p>
          <a:p>
            <a:pPr lvl="1"/>
            <a:r>
              <a:rPr lang="en-GB" dirty="0"/>
              <a:t>Think of an AR experience as a transparent HTML page that runs on top of a 3D page which sits on top of a video camera</a:t>
            </a:r>
          </a:p>
          <a:p>
            <a:r>
              <a:rPr lang="en-GB" dirty="0"/>
              <a:t>Widgets provide 3 capabilities</a:t>
            </a:r>
          </a:p>
          <a:p>
            <a:pPr lvl="1"/>
            <a:r>
              <a:rPr lang="en-GB" dirty="0"/>
              <a:t>A way to declare editor-based tools that help define some function or capability</a:t>
            </a:r>
          </a:p>
          <a:p>
            <a:pPr lvl="1"/>
            <a:r>
              <a:rPr lang="en-GB" dirty="0"/>
              <a:t>a method to declare this functionality within the html page</a:t>
            </a:r>
          </a:p>
          <a:p>
            <a:pPr lvl="1"/>
            <a:r>
              <a:rPr lang="en-GB" dirty="0"/>
              <a:t>At runtime, the code that is invoked when this (h)</a:t>
            </a:r>
            <a:r>
              <a:rPr lang="en-GB" dirty="0" err="1"/>
              <a:t>tml</a:t>
            </a:r>
            <a:r>
              <a:rPr lang="en-GB" dirty="0"/>
              <a:t> element is displayed</a:t>
            </a:r>
          </a:p>
          <a:p>
            <a:r>
              <a:rPr lang="en-GB" dirty="0"/>
              <a:t>Vuforia Studio was built using AngularJS 1.x</a:t>
            </a:r>
          </a:p>
          <a:p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6963AA0-D881-4870-94A7-BD34A8193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e</a:t>
            </a:r>
          </a:p>
        </p:txBody>
      </p:sp>
    </p:spTree>
    <p:extLst>
      <p:ext uri="{BB962C8B-B14F-4D97-AF65-F5344CB8AC3E}">
        <p14:creationId xmlns:p14="http://schemas.microsoft.com/office/powerpoint/2010/main" val="386597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335BD97-0622-4E63-840C-F88EA6590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6C0964-1F24-41E4-B338-EEF848DFD1DC}"/>
              </a:ext>
            </a:extLst>
          </p:cNvPr>
          <p:cNvSpPr/>
          <p:nvPr/>
        </p:nvSpPr>
        <p:spPr>
          <a:xfrm>
            <a:off x="365760" y="1530417"/>
            <a:ext cx="3609474" cy="481263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Studio IDE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114AE2-8A7B-4023-86CF-75EE66351C37}"/>
              </a:ext>
            </a:extLst>
          </p:cNvPr>
          <p:cNvSpPr/>
          <p:nvPr/>
        </p:nvSpPr>
        <p:spPr>
          <a:xfrm>
            <a:off x="7943920" y="1530417"/>
            <a:ext cx="3609474" cy="481263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Vuforia View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A82ECE-2C63-4719-BE38-9D214472F192}"/>
              </a:ext>
            </a:extLst>
          </p:cNvPr>
          <p:cNvSpPr/>
          <p:nvPr/>
        </p:nvSpPr>
        <p:spPr>
          <a:xfrm>
            <a:off x="437949" y="2000406"/>
            <a:ext cx="3465095" cy="409238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Experience Projec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7F1912-CF14-4B9D-A375-33FF08D7071C}"/>
              </a:ext>
            </a:extLst>
          </p:cNvPr>
          <p:cNvSpPr/>
          <p:nvPr/>
        </p:nvSpPr>
        <p:spPr>
          <a:xfrm>
            <a:off x="558264" y="4908885"/>
            <a:ext cx="1135781" cy="103952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Asse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83766E-32CB-4A02-9B32-08869A591AF7}"/>
              </a:ext>
            </a:extLst>
          </p:cNvPr>
          <p:cNvSpPr/>
          <p:nvPr/>
        </p:nvSpPr>
        <p:spPr>
          <a:xfrm>
            <a:off x="1846445" y="4908885"/>
            <a:ext cx="1135781" cy="103952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cod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7EC4DBC-5299-44E9-9C63-56ECB3B54CF1}"/>
              </a:ext>
            </a:extLst>
          </p:cNvPr>
          <p:cNvSpPr/>
          <p:nvPr/>
        </p:nvSpPr>
        <p:spPr>
          <a:xfrm>
            <a:off x="558264" y="2808974"/>
            <a:ext cx="1288181" cy="103952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Widg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F79DD5-2010-4821-B04B-DE11B584DD54}"/>
              </a:ext>
            </a:extLst>
          </p:cNvPr>
          <p:cNvSpPr/>
          <p:nvPr/>
        </p:nvSpPr>
        <p:spPr>
          <a:xfrm>
            <a:off x="8146179" y="2492943"/>
            <a:ext cx="1787089" cy="135555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Vie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1ADAE6-926D-4600-B0BA-0D3F4273EDE4}"/>
              </a:ext>
            </a:extLst>
          </p:cNvPr>
          <p:cNvSpPr/>
          <p:nvPr/>
        </p:nvSpPr>
        <p:spPr>
          <a:xfrm>
            <a:off x="8298579" y="2645343"/>
            <a:ext cx="1787089" cy="1355559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View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EC92EC-2767-4895-8AB9-F7C219B058B6}"/>
              </a:ext>
            </a:extLst>
          </p:cNvPr>
          <p:cNvSpPr/>
          <p:nvPr/>
        </p:nvSpPr>
        <p:spPr>
          <a:xfrm>
            <a:off x="8450979" y="2797743"/>
            <a:ext cx="2861912" cy="201328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View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ECDED9-9E51-4EC0-8ED8-8C2D7E0FBD48}"/>
              </a:ext>
            </a:extLst>
          </p:cNvPr>
          <p:cNvSpPr/>
          <p:nvPr/>
        </p:nvSpPr>
        <p:spPr>
          <a:xfrm>
            <a:off x="8146179" y="5149516"/>
            <a:ext cx="3166712" cy="103952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Native services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 err="1">
                <a:solidFill>
                  <a:schemeClr val="bg1"/>
                </a:solidFill>
              </a:rPr>
              <a:t>e.g.Tracking</a:t>
            </a:r>
            <a:r>
              <a:rPr lang="en-GB" dirty="0">
                <a:solidFill>
                  <a:schemeClr val="bg1"/>
                </a:solidFill>
              </a:rPr>
              <a:t>, displa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675997A-0B1B-4179-B24C-2FD9CC36289D}"/>
              </a:ext>
            </a:extLst>
          </p:cNvPr>
          <p:cNvSpPr/>
          <p:nvPr/>
        </p:nvSpPr>
        <p:spPr>
          <a:xfrm>
            <a:off x="4154840" y="195735"/>
            <a:ext cx="3609474" cy="172931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Experience Server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114875-3848-4DE7-8DD3-36E137A8ED0E}"/>
              </a:ext>
            </a:extLst>
          </p:cNvPr>
          <p:cNvSpPr/>
          <p:nvPr/>
        </p:nvSpPr>
        <p:spPr>
          <a:xfrm>
            <a:off x="4283178" y="684129"/>
            <a:ext cx="1078094" cy="11350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bg1"/>
                </a:solidFill>
              </a:rPr>
              <a:t>Projec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sz="1600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6DB2AF-8C92-4C67-A2EC-5574C75A6A81}"/>
              </a:ext>
            </a:extLst>
          </p:cNvPr>
          <p:cNvSpPr/>
          <p:nvPr/>
        </p:nvSpPr>
        <p:spPr>
          <a:xfrm>
            <a:off x="8531318" y="4190978"/>
            <a:ext cx="508405" cy="5101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1D1EB7B-DF39-4EF1-AD75-661D9AD5F5E0}"/>
              </a:ext>
            </a:extLst>
          </p:cNvPr>
          <p:cNvSpPr/>
          <p:nvPr/>
        </p:nvSpPr>
        <p:spPr>
          <a:xfrm>
            <a:off x="4341089" y="1036319"/>
            <a:ext cx="943180" cy="686603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5A28688-C8A5-4612-BA40-910DDE3D9496}"/>
              </a:ext>
            </a:extLst>
          </p:cNvPr>
          <p:cNvSpPr/>
          <p:nvPr/>
        </p:nvSpPr>
        <p:spPr>
          <a:xfrm>
            <a:off x="4414147" y="1130145"/>
            <a:ext cx="508405" cy="5101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C90DD8-8D6E-4358-BD51-86802532B46E}"/>
              </a:ext>
            </a:extLst>
          </p:cNvPr>
          <p:cNvSpPr/>
          <p:nvPr/>
        </p:nvSpPr>
        <p:spPr>
          <a:xfrm>
            <a:off x="5434330" y="684129"/>
            <a:ext cx="1078094" cy="11350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bg1"/>
                </a:solidFill>
              </a:rPr>
              <a:t>Projec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sz="1600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237563-F34F-47B2-AF0E-74F63DB79C45}"/>
              </a:ext>
            </a:extLst>
          </p:cNvPr>
          <p:cNvSpPr/>
          <p:nvPr/>
        </p:nvSpPr>
        <p:spPr>
          <a:xfrm>
            <a:off x="6599322" y="679049"/>
            <a:ext cx="1078094" cy="11350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sz="1600" dirty="0">
                <a:solidFill>
                  <a:schemeClr val="bg1"/>
                </a:solidFill>
              </a:rPr>
              <a:t>Projec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sz="1600" dirty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3AB78E-3822-4546-8733-431751588AC6}"/>
              </a:ext>
            </a:extLst>
          </p:cNvPr>
          <p:cNvSpPr/>
          <p:nvPr/>
        </p:nvSpPr>
        <p:spPr>
          <a:xfrm>
            <a:off x="2353504" y="2808974"/>
            <a:ext cx="1288181" cy="103952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GB" dirty="0">
                <a:solidFill>
                  <a:schemeClr val="bg1"/>
                </a:solidFill>
              </a:rPr>
              <a:t>Widget</a:t>
            </a:r>
          </a:p>
        </p:txBody>
      </p:sp>
    </p:spTree>
    <p:extLst>
      <p:ext uri="{BB962C8B-B14F-4D97-AF65-F5344CB8AC3E}">
        <p14:creationId xmlns:p14="http://schemas.microsoft.com/office/powerpoint/2010/main" val="141601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A661E8-B8B1-4745-B042-C55447CF24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Root</a:t>
            </a:r>
          </a:p>
          <a:p>
            <a:pPr lvl="1"/>
            <a:r>
              <a:rPr lang="en-GB" dirty="0"/>
              <a:t>Index.js – manifest of that is needed</a:t>
            </a:r>
          </a:p>
          <a:p>
            <a:r>
              <a:rPr lang="en-GB" dirty="0"/>
              <a:t>Ide</a:t>
            </a:r>
          </a:p>
          <a:p>
            <a:pPr lvl="1"/>
            <a:r>
              <a:rPr lang="en-GB" dirty="0"/>
              <a:t>Assets used in the Studio editor e.g. icons</a:t>
            </a:r>
          </a:p>
          <a:p>
            <a:r>
              <a:rPr lang="en-GB" dirty="0"/>
              <a:t>Widgets</a:t>
            </a:r>
          </a:p>
          <a:p>
            <a:pPr lvl="1"/>
            <a:r>
              <a:rPr lang="en-GB" dirty="0"/>
              <a:t>Folder per widget</a:t>
            </a:r>
          </a:p>
          <a:p>
            <a:pPr lvl="2"/>
            <a:r>
              <a:rPr lang="en-GB" dirty="0"/>
              <a:t>Contains design (declaration) for editor</a:t>
            </a:r>
          </a:p>
          <a:p>
            <a:pPr lvl="2"/>
            <a:r>
              <a:rPr lang="en-GB" dirty="0"/>
              <a:t>Style sheet</a:t>
            </a:r>
          </a:p>
          <a:p>
            <a:r>
              <a:rPr lang="en-GB" dirty="0"/>
              <a:t>Runtime</a:t>
            </a:r>
          </a:p>
          <a:p>
            <a:pPr lvl="1"/>
            <a:r>
              <a:rPr lang="en-GB" dirty="0"/>
              <a:t>Assets for runtime – icons, models, code modules</a:t>
            </a:r>
          </a:p>
          <a:p>
            <a:pPr lvl="1"/>
            <a:r>
              <a:rPr lang="en-GB" dirty="0"/>
              <a:t>Angular controller (</a:t>
            </a:r>
            <a:r>
              <a:rPr lang="en-GB" dirty="0" err="1"/>
              <a:t>js</a:t>
            </a:r>
            <a:r>
              <a:rPr lang="en-GB" dirty="0"/>
              <a:t>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E138A1B-F4D7-424B-A857-C3AE65DC1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one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BCF201-D836-4E2A-B85A-B551E37899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92"/>
          <a:stretch/>
        </p:blipFill>
        <p:spPr>
          <a:xfrm>
            <a:off x="8310176" y="1709928"/>
            <a:ext cx="3741368" cy="426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7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AC3733A-F23E-4F72-8215-55043C3DE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5605240" cy="4572000"/>
          </a:xfrm>
        </p:spPr>
        <p:txBody>
          <a:bodyPr/>
          <a:lstStyle/>
          <a:p>
            <a:r>
              <a:rPr lang="en-GB" dirty="0"/>
              <a:t>Widgets can be defined to be in specific categories</a:t>
            </a:r>
          </a:p>
          <a:p>
            <a:pPr lvl="1"/>
            <a:r>
              <a:rPr lang="en-GB" dirty="0"/>
              <a:t>These map to which ‘template’ / View they are listed in</a:t>
            </a:r>
          </a:p>
          <a:p>
            <a:pPr lvl="1"/>
            <a:r>
              <a:rPr lang="en-GB" dirty="0"/>
              <a:t>Category=AR is for widgets that specifically live in the AR visual space</a:t>
            </a:r>
          </a:p>
          <a:p>
            <a:pPr lvl="2"/>
            <a:r>
              <a:rPr lang="en-GB" dirty="0"/>
              <a:t>Appear in the 3D window</a:t>
            </a:r>
          </a:p>
          <a:p>
            <a:pPr lvl="1"/>
            <a:r>
              <a:rPr lang="en-GB" dirty="0"/>
              <a:t>Non-AR widgets appear in the 2D window</a:t>
            </a:r>
          </a:p>
          <a:p>
            <a:r>
              <a:rPr lang="en-GB" dirty="0"/>
              <a:t>Widgets can be defined to be within a group</a:t>
            </a:r>
          </a:p>
          <a:p>
            <a:pPr lvl="1"/>
            <a:r>
              <a:rPr lang="en-GB" dirty="0"/>
              <a:t>Many of the OCTO widgets appear in the “OCTO Labs” group</a:t>
            </a:r>
          </a:p>
          <a:p>
            <a:pPr lvl="1"/>
            <a:r>
              <a:rPr lang="en-GB" dirty="0"/>
              <a:t>Groups can appear in multiple categori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2296B7-8CEB-4A92-81BB-D08465762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tom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A27D47-7030-4311-AD7D-6EC30A89CD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1514"/>
          <a:stretch/>
        </p:blipFill>
        <p:spPr>
          <a:xfrm>
            <a:off x="6269255" y="570353"/>
            <a:ext cx="5702923" cy="5717293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3DEDE1A3-5F98-4183-9C1C-E1D2BAF55075}"/>
              </a:ext>
            </a:extLst>
          </p:cNvPr>
          <p:cNvCxnSpPr>
            <a:stCxn id="5" idx="3"/>
          </p:cNvCxnSpPr>
          <p:nvPr/>
        </p:nvCxnSpPr>
        <p:spPr>
          <a:xfrm flipV="1">
            <a:off x="6096000" y="1443789"/>
            <a:ext cx="4645794" cy="2552139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478FFD4-F82F-4E7A-BB00-E6204B5CCFF5}"/>
              </a:ext>
            </a:extLst>
          </p:cNvPr>
          <p:cNvCxnSpPr>
            <a:cxnSpLocks/>
          </p:cNvCxnSpPr>
          <p:nvPr/>
        </p:nvCxnSpPr>
        <p:spPr>
          <a:xfrm flipH="1">
            <a:off x="8845617" y="1443789"/>
            <a:ext cx="1896178" cy="2714325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52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heme/theme1.xml><?xml version="1.0" encoding="utf-8"?>
<a:theme xmlns:a="http://schemas.openxmlformats.org/drawingml/2006/main" name="PTC PowerPoint Template">
  <a:themeElements>
    <a:clrScheme name="PTC June 2023">
      <a:dk1>
        <a:srgbClr val="3D4647"/>
      </a:dk1>
      <a:lt1>
        <a:srgbClr val="FFFFFF"/>
      </a:lt1>
      <a:dk2>
        <a:srgbClr val="C8C9C7"/>
      </a:dk2>
      <a:lt2>
        <a:srgbClr val="40AA1D"/>
      </a:lt2>
      <a:accent1>
        <a:srgbClr val="40AA1D"/>
      </a:accent1>
      <a:accent2>
        <a:srgbClr val="617480"/>
      </a:accent2>
      <a:accent3>
        <a:srgbClr val="26481F"/>
      </a:accent3>
      <a:accent4>
        <a:srgbClr val="197BC0"/>
      </a:accent4>
      <a:accent5>
        <a:srgbClr val="EB6D00"/>
      </a:accent5>
      <a:accent6>
        <a:srgbClr val="1D496E"/>
      </a:accent6>
      <a:hlink>
        <a:srgbClr val="197BC0"/>
      </a:hlink>
      <a:folHlink>
        <a:srgbClr val="197BC0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9525">
          <a:noFill/>
        </a:ln>
      </a:spPr>
      <a:bodyPr vert="horz" wrap="square" lIns="91440" tIns="45720" rIns="91440" bIns="45720" rtlCol="0">
        <a:spAutoFit/>
      </a:bodyPr>
      <a:lstStyle>
        <a:defPPr algn="l">
          <a:lnSpc>
            <a:spcPct val="90000"/>
          </a:lnSpc>
          <a:spcBef>
            <a:spcPts val="8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'24.pptx" id="{96B988FF-9201-4AEE-9CBD-60DCCDEB2DBA}" vid="{0C47605B-62BB-4E3D-B31C-17E2E8036F0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7" ma:contentTypeDescription="Create a new document." ma:contentTypeScope="" ma:versionID="23755e1635560c9e49adf1923e0b7b4a">
  <xsd:schema xmlns:xsd="http://www.w3.org/2001/XMLSchema" xmlns:xs="http://www.w3.org/2001/XMLSchema" xmlns:p="http://schemas.microsoft.com/office/2006/metadata/properties" xmlns:ns2="06caee19-00b5-48df-bf01-7741a1496c06" xmlns:ns3="7dafaee0-0f14-4d71-9768-8f6113da2e1a" xmlns:ns4="0afc796f-8643-486e-8997-d31e75ae07ce" targetNamespace="http://schemas.microsoft.com/office/2006/metadata/properties" ma:root="true" ma:fieldsID="892b9e78d143fe07fbb4df075e25b6d3" ns2:_="" ns3:_="" ns4:_="">
    <xsd:import namespace="06caee19-00b5-48df-bf01-7741a1496c06"/>
    <xsd:import namespace="7dafaee0-0f14-4d71-9768-8f6113da2e1a"/>
    <xsd:import namespace="0afc796f-8643-486e-8997-d31e75ae07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5d64b0b-b9db-40f4-af1f-30e697a150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fc796f-8643-486e-8997-d31e75ae07ce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703926f3-69d5-49a8-b5b6-955e90b5d026}" ma:internalName="TaxCatchAll" ma:showField="CatchAllData" ma:web="7dafaee0-0f14-4d71-9768-8f6113da2e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dafaee0-0f14-4d71-9768-8f6113da2e1a">
      <UserInfo>
        <DisplayName>Yamamoto, Mayumi</DisplayName>
        <AccountId>751</AccountId>
        <AccountType/>
      </UserInfo>
      <UserInfo>
        <DisplayName>Ham, Allison</DisplayName>
        <AccountId>538</AccountId>
        <AccountType/>
      </UserInfo>
      <UserInfo>
        <DisplayName>Siu, Brian</DisplayName>
        <AccountId>46</AccountId>
        <AccountType/>
      </UserInfo>
      <UserInfo>
        <DisplayName>Davidson, Sean</DisplayName>
        <AccountId>199</AccountId>
        <AccountType/>
      </UserInfo>
      <UserInfo>
        <DisplayName>Dumais, David</DisplayName>
        <AccountId>1002</AccountId>
        <AccountType/>
      </UserInfo>
    </SharedWithUsers>
    <TaxCatchAll xmlns="0afc796f-8643-486e-8997-d31e75ae07ce" xsi:nil="true"/>
    <lcf76f155ced4ddcb4097134ff3c332f xmlns="06caee19-00b5-48df-bf01-7741a1496c0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2B6D9FE-A98B-49D2-B3B1-E7D7E1AC95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0afc796f-8643-486e-8997-d31e75ae07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392F57-1052-4C99-90E2-907251ECDB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C240A6-E85F-4E97-8F39-FB28041B80A0}">
  <ds:schemaRefs>
    <ds:schemaRef ds:uri="http://www.w3.org/XML/1998/namespace"/>
    <ds:schemaRef ds:uri="0afc796f-8643-486e-8997-d31e75ae07ce"/>
    <ds:schemaRef ds:uri="http://purl.org/dc/terms/"/>
    <ds:schemaRef ds:uri="http://schemas.openxmlformats.org/package/2006/metadata/core-properties"/>
    <ds:schemaRef ds:uri="06caee19-00b5-48df-bf01-7741a1496c06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7dafaee0-0f14-4d71-9768-8f6113da2e1a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81</TotalTime>
  <Words>1279</Words>
  <Application>Microsoft Office PowerPoint</Application>
  <PresentationFormat>Widescreen</PresentationFormat>
  <Paragraphs>277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Wingdings</vt:lpstr>
      <vt:lpstr>Calibri</vt:lpstr>
      <vt:lpstr>Calibri Light</vt:lpstr>
      <vt:lpstr>PTCRaleway Black</vt:lpstr>
      <vt:lpstr>PTCRaleway</vt:lpstr>
      <vt:lpstr>PTC PowerPoint Template</vt:lpstr>
      <vt:lpstr>think-cell Slide</vt:lpstr>
      <vt:lpstr>Vuforia studio extentions</vt:lpstr>
      <vt:lpstr>Important information</vt:lpstr>
      <vt:lpstr>agenda</vt:lpstr>
      <vt:lpstr>Overview</vt:lpstr>
      <vt:lpstr>Overview</vt:lpstr>
      <vt:lpstr>Architecture</vt:lpstr>
      <vt:lpstr>Architecture</vt:lpstr>
      <vt:lpstr>Components</vt:lpstr>
      <vt:lpstr>Anatomy</vt:lpstr>
      <vt:lpstr>Widget.design.js</vt:lpstr>
      <vt:lpstr>Widget.design.js</vt:lpstr>
      <vt:lpstr>Widget.design.js</vt:lpstr>
      <vt:lpstr>Widget.design.js</vt:lpstr>
      <vt:lpstr>Widget.design.js</vt:lpstr>
      <vt:lpstr>Myorgmywidget-ng.js</vt:lpstr>
      <vt:lpstr>Myorgmywidget-ng.js</vt:lpstr>
      <vt:lpstr>Myorgmywidget-ng.js</vt:lpstr>
      <vt:lpstr>Myorgmywidget-ng.js</vt:lpstr>
      <vt:lpstr>index.js</vt:lpstr>
      <vt:lpstr>Things to watch out fo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uforia studio extenstions</dc:title>
  <dc:creator>Prideaux-Ghee, Stephen</dc:creator>
  <cp:lastModifiedBy>Prideaux-Ghee, Stephen</cp:lastModifiedBy>
  <cp:revision>50</cp:revision>
  <dcterms:created xsi:type="dcterms:W3CDTF">2024-03-08T10:45:42Z</dcterms:created>
  <dcterms:modified xsi:type="dcterms:W3CDTF">2024-03-26T14:0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  <property fmtid="{D5CDD505-2E9C-101B-9397-08002B2CF9AE}" pid="3" name="MediaServiceImageTags">
    <vt:lpwstr/>
  </property>
</Properties>
</file>